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7" r:id="rId4"/>
  </p:sldMasterIdLst>
  <p:notesMasterIdLst>
    <p:notesMasterId r:id="rId31"/>
  </p:notesMasterIdLst>
  <p:handoutMasterIdLst>
    <p:handoutMasterId r:id="rId32"/>
  </p:handoutMasterIdLst>
  <p:sldIdLst>
    <p:sldId id="271" r:id="rId5"/>
    <p:sldId id="306" r:id="rId6"/>
    <p:sldId id="307" r:id="rId7"/>
    <p:sldId id="308" r:id="rId8"/>
    <p:sldId id="320" r:id="rId9"/>
    <p:sldId id="311" r:id="rId10"/>
    <p:sldId id="310" r:id="rId11"/>
    <p:sldId id="339" r:id="rId12"/>
    <p:sldId id="314" r:id="rId13"/>
    <p:sldId id="342" r:id="rId14"/>
    <p:sldId id="341" r:id="rId15"/>
    <p:sldId id="316" r:id="rId16"/>
    <p:sldId id="330" r:id="rId17"/>
    <p:sldId id="317" r:id="rId18"/>
    <p:sldId id="331" r:id="rId19"/>
    <p:sldId id="318" r:id="rId20"/>
    <p:sldId id="319" r:id="rId21"/>
    <p:sldId id="332" r:id="rId22"/>
    <p:sldId id="333" r:id="rId23"/>
    <p:sldId id="334" r:id="rId24"/>
    <p:sldId id="338" r:id="rId25"/>
    <p:sldId id="335" r:id="rId26"/>
    <p:sldId id="340" r:id="rId27"/>
    <p:sldId id="336" r:id="rId28"/>
    <p:sldId id="337" r:id="rId29"/>
    <p:sldId id="263" r:id="rId30"/>
  </p:sldIdLst>
  <p:sldSz cx="12192000" cy="6858000"/>
  <p:notesSz cx="6740525" cy="9867900"/>
  <p:defaultTextStyle>
    <a:defPPr>
      <a:defRPr lang="de-DE"/>
    </a:defPPr>
    <a:lvl1pPr marL="0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pos="4596" userDrawn="1">
          <p15:clr>
            <a:srgbClr val="A4A3A4"/>
          </p15:clr>
        </p15:guide>
        <p15:guide id="6" orient="horz" pos="200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52">
          <p15:clr>
            <a:srgbClr val="A4A3A4"/>
          </p15:clr>
        </p15:guide>
        <p15:guide id="2" pos="2140">
          <p15:clr>
            <a:srgbClr val="A4A3A4"/>
          </p15:clr>
        </p15:guide>
        <p15:guide id="3" orient="horz" pos="3108">
          <p15:clr>
            <a:srgbClr val="A4A3A4"/>
          </p15:clr>
        </p15:guide>
        <p15:guide id="4" pos="212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  <a:srgbClr val="707173"/>
    <a:srgbClr val="CC071E"/>
    <a:srgbClr val="3F3F3F"/>
    <a:srgbClr val="EE0B1B"/>
    <a:srgbClr val="FFFFA1"/>
    <a:srgbClr val="FFD451"/>
    <a:srgbClr val="97F5CE"/>
    <a:srgbClr val="30AB95"/>
    <a:srgbClr val="8BA9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FDBF0E0-D241-4B71-BBC1-3537733663C3}" v="14" dt="2022-07-21T20:03:55.925"/>
  </p1510:revLst>
</p1510:revInfo>
</file>

<file path=ppt/tableStyles.xml><?xml version="1.0" encoding="utf-8"?>
<a:tblStyleLst xmlns:a="http://schemas.openxmlformats.org/drawingml/2006/main" def="{073A0DAA-6AF3-43AB-8588-CEC1D06C72B9}"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Mittlere Formatvorlage 3 - 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Keine Formatvorlage, kein Gitternetz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84777" autoAdjust="0"/>
  </p:normalViewPr>
  <p:slideViewPr>
    <p:cSldViewPr snapToGrid="0" snapToObjects="1">
      <p:cViewPr varScale="1">
        <p:scale>
          <a:sx n="72" d="100"/>
          <a:sy n="72" d="100"/>
        </p:scale>
        <p:origin x="1104" y="62"/>
      </p:cViewPr>
      <p:guideLst>
        <p:guide pos="4596"/>
        <p:guide orient="horz" pos="200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112" d="100"/>
          <a:sy n="112" d="100"/>
        </p:scale>
        <p:origin x="3078" y="96"/>
      </p:cViewPr>
      <p:guideLst>
        <p:guide orient="horz" pos="3152"/>
        <p:guide pos="2140"/>
        <p:guide orient="horz" pos="3108"/>
        <p:guide pos="212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handoutMaster" Target="handoutMasters/handoutMaster1.xml"/><Relationship Id="rId37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10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17938" y="0"/>
            <a:ext cx="29210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BA2E7B-EB49-4D78-A2D8-FB41209B0D8F}" type="datetimeFigureOut">
              <a:rPr lang="de-CH" smtClean="0"/>
              <a:t>23.08.2025</a:t>
            </a:fld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372600"/>
            <a:ext cx="29210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17938" y="9372600"/>
            <a:ext cx="29210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8BFC997-1103-4195-97DA-2E0C7B7A4B10}" type="slidenum">
              <a:rPr lang="de-CH" smtClean="0"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06031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0894" cy="493395"/>
          </a:xfrm>
          <a:prstGeom prst="rect">
            <a:avLst/>
          </a:prstGeom>
        </p:spPr>
        <p:txBody>
          <a:bodyPr vert="horz" lIns="90379" tIns="45190" rIns="90379" bIns="45190" rtlCol="0"/>
          <a:lstStyle>
            <a:lvl1pPr algn="l">
              <a:defRPr sz="1200"/>
            </a:lvl1pPr>
          </a:lstStyle>
          <a:p>
            <a:endParaRPr lang="de-CH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8072" y="0"/>
            <a:ext cx="2920894" cy="493395"/>
          </a:xfrm>
          <a:prstGeom prst="rect">
            <a:avLst/>
          </a:prstGeom>
        </p:spPr>
        <p:txBody>
          <a:bodyPr vert="horz" lIns="90379" tIns="45190" rIns="90379" bIns="45190" rtlCol="0"/>
          <a:lstStyle>
            <a:lvl1pPr algn="r">
              <a:defRPr sz="1200"/>
            </a:lvl1pPr>
          </a:lstStyle>
          <a:p>
            <a:fld id="{1F159BB1-CC1D-4F4F-ACA8-3A235456BEA3}" type="datetimeFigureOut">
              <a:rPr lang="de-DE" smtClean="0"/>
              <a:pPr/>
              <a:t>23.08.2025</a:t>
            </a:fld>
            <a:endParaRPr lang="de-CH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0963" y="739775"/>
            <a:ext cx="6578600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379" tIns="45190" rIns="90379" bIns="45190" rtlCol="0" anchor="ctr"/>
          <a:lstStyle/>
          <a:p>
            <a:endParaRPr lang="de-CH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4053" y="4687253"/>
            <a:ext cx="5392420" cy="4440555"/>
          </a:xfrm>
          <a:prstGeom prst="rect">
            <a:avLst/>
          </a:prstGeom>
        </p:spPr>
        <p:txBody>
          <a:bodyPr vert="horz" lIns="90379" tIns="45190" rIns="90379" bIns="4519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2792"/>
            <a:ext cx="2920894" cy="493395"/>
          </a:xfrm>
          <a:prstGeom prst="rect">
            <a:avLst/>
          </a:prstGeom>
        </p:spPr>
        <p:txBody>
          <a:bodyPr vert="horz" lIns="90379" tIns="45190" rIns="90379" bIns="45190" rtlCol="0" anchor="b"/>
          <a:lstStyle>
            <a:lvl1pPr algn="l">
              <a:defRPr sz="1200"/>
            </a:lvl1pPr>
          </a:lstStyle>
          <a:p>
            <a:endParaRPr lang="de-CH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8072" y="9372792"/>
            <a:ext cx="2920894" cy="493395"/>
          </a:xfrm>
          <a:prstGeom prst="rect">
            <a:avLst/>
          </a:prstGeom>
        </p:spPr>
        <p:txBody>
          <a:bodyPr vert="horz" lIns="90379" tIns="45190" rIns="90379" bIns="45190" rtlCol="0" anchor="b"/>
          <a:lstStyle>
            <a:lvl1pPr algn="r">
              <a:defRPr sz="1200"/>
            </a:lvl1pPr>
          </a:lstStyle>
          <a:p>
            <a:fld id="{DA168281-B8F8-474D-9FE0-8C82ED0FD368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500068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168281-B8F8-474D-9FE0-8C82ED0FD368}" type="slidenum">
              <a:rPr lang="de-CH" smtClean="0"/>
              <a:pPr/>
              <a:t>2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5752489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0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694347" y="4251479"/>
            <a:ext cx="10184035" cy="2074644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CH" noProof="0" dirty="0"/>
              <a:t>Bei Aufzählungen NICHT die Buttons oben im Menü verwenden, sondern jede Textzeile komplett markieren und mit der Tabulator-Taste oder </a:t>
            </a:r>
            <a:r>
              <a:rPr lang="de-CH" noProof="0" dirty="0" err="1"/>
              <a:t>Shift+Tab</a:t>
            </a:r>
            <a:r>
              <a:rPr lang="de-CH" noProof="0" dirty="0"/>
              <a:t> die Ebene verändern (erst erscheinen </a:t>
            </a:r>
            <a:r>
              <a:rPr lang="de-CH" noProof="0" dirty="0" err="1"/>
              <a:t>Bulletpoints</a:t>
            </a:r>
            <a:r>
              <a:rPr lang="de-CH" noProof="0" dirty="0"/>
              <a:t>, dann Nummerierungen).</a:t>
            </a:r>
            <a:endParaRPr lang="en-US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1"/>
          </p:nvPr>
        </p:nvSpPr>
        <p:spPr>
          <a:xfrm>
            <a:off x="0" y="1"/>
            <a:ext cx="12192000" cy="28045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9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398383" y="6575243"/>
            <a:ext cx="480000" cy="24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402FF4-3150-4BB9-8471-06339226EF9E}" type="slidenum">
              <a:rPr lang="de-CH" smtClean="0"/>
              <a:pPr/>
              <a:t>‹#›</a:t>
            </a:fld>
            <a:endParaRPr lang="de-CH" dirty="0"/>
          </a:p>
        </p:txBody>
      </p:sp>
      <p:pic>
        <p:nvPicPr>
          <p:cNvPr id="7" name="Bild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2139" y="3234631"/>
            <a:ext cx="1018892" cy="573932"/>
          </a:xfrm>
          <a:prstGeom prst="rect">
            <a:avLst/>
          </a:prstGeom>
        </p:spPr>
      </p:pic>
      <p:sp>
        <p:nvSpPr>
          <p:cNvPr id="8" name="Titel 2"/>
          <p:cNvSpPr>
            <a:spLocks noGrp="1"/>
          </p:cNvSpPr>
          <p:nvPr>
            <p:ph type="title"/>
          </p:nvPr>
        </p:nvSpPr>
        <p:spPr>
          <a:xfrm>
            <a:off x="1694348" y="3319200"/>
            <a:ext cx="10184034" cy="571321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11006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404703" y="6575243"/>
            <a:ext cx="480000" cy="24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402FF4-3150-4BB9-8471-06339226EF9E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51501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7402FF4-3150-4BB9-8471-06339226EF9E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1" y="2261440"/>
            <a:ext cx="6955241" cy="459656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/>
          </p:nvPr>
        </p:nvSpPr>
        <p:spPr>
          <a:xfrm>
            <a:off x="7539041" y="2260600"/>
            <a:ext cx="4072993" cy="3057800"/>
          </a:xfrm>
          <a:prstGeom prst="rect">
            <a:avLst/>
          </a:prstGeom>
        </p:spPr>
        <p:txBody>
          <a:bodyPr/>
          <a:lstStyle>
            <a:lvl1pPr>
              <a:defRPr sz="18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9F94118-37F5-4B65-9CE9-3F639A3D83DE}"/>
              </a:ext>
            </a:extLst>
          </p:cNvPr>
          <p:cNvGrpSpPr/>
          <p:nvPr userDrawn="1"/>
        </p:nvGrpSpPr>
        <p:grpSpPr>
          <a:xfrm>
            <a:off x="3319200" y="2681999"/>
            <a:ext cx="3240000" cy="3348001"/>
            <a:chOff x="3319200" y="2681999"/>
            <a:chExt cx="3240000" cy="3348001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12AE17DE-EEC3-4478-A345-BD19BE885F63}"/>
                </a:ext>
              </a:extLst>
            </p:cNvPr>
            <p:cNvSpPr txBox="1"/>
            <p:nvPr/>
          </p:nvSpPr>
          <p:spPr>
            <a:xfrm>
              <a:off x="3319200" y="2790000"/>
              <a:ext cx="3240000" cy="3132000"/>
            </a:xfrm>
            <a:prstGeom prst="rect">
              <a:avLst/>
            </a:prstGeom>
            <a:solidFill>
              <a:schemeClr val="accent1">
                <a:alpha val="85000"/>
              </a:schemeClr>
            </a:solidFill>
          </p:spPr>
          <p:txBody>
            <a:bodyPr wrap="square" lIns="252000" tIns="252000" rIns="252000" bIns="252000" rtlCol="0" anchor="t" anchorCtr="0">
              <a:noAutofit/>
            </a:bodyPr>
            <a:lstStyle/>
            <a:p>
              <a:endParaRPr lang="de-CH" sz="1100" dirty="0">
                <a:solidFill>
                  <a:schemeClr val="bg1"/>
                </a:solidFill>
                <a:latin typeface="+mj-lt"/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8E90AAE1-C48E-4BBF-A361-9D7A8ADCE29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319200" y="2681999"/>
              <a:ext cx="245250" cy="216000"/>
              <a:chOff x="3283463" y="1206820"/>
              <a:chExt cx="720000" cy="634128"/>
            </a:xfrm>
          </p:grpSpPr>
          <p:pic>
            <p:nvPicPr>
              <p:cNvPr id="15" name="Graphic 14">
                <a:extLst>
                  <a:ext uri="{FF2B5EF4-FFF2-40B4-BE49-F238E27FC236}">
                    <a16:creationId xmlns:a16="http://schemas.microsoft.com/office/drawing/2014/main" id="{B85094E3-FB11-4DC9-A32E-03A950AE2AC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283463" y="1206820"/>
                <a:ext cx="720000" cy="317064"/>
              </a:xfrm>
              <a:prstGeom prst="rect">
                <a:avLst/>
              </a:prstGeom>
            </p:spPr>
          </p:pic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id="{427C908E-AB51-4F77-B4B2-684EEC32B30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 rot="10800000" flipH="1">
                <a:off x="3283463" y="1523884"/>
                <a:ext cx="720000" cy="317064"/>
              </a:xfrm>
              <a:prstGeom prst="rect">
                <a:avLst/>
              </a:prstGeom>
            </p:spPr>
          </p:pic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A4A81D5D-7FF9-49C0-A2B7-348172D0CE0E}"/>
                </a:ext>
              </a:extLst>
            </p:cNvPr>
            <p:cNvGrpSpPr>
              <a:grpSpLocks noChangeAspect="1"/>
            </p:cNvGrpSpPr>
            <p:nvPr/>
          </p:nvGrpSpPr>
          <p:grpSpPr>
            <a:xfrm rot="10800000">
              <a:off x="6313950" y="5814000"/>
              <a:ext cx="245250" cy="216000"/>
              <a:chOff x="3283463" y="1206820"/>
              <a:chExt cx="720000" cy="634128"/>
            </a:xfrm>
          </p:grpSpPr>
          <p:pic>
            <p:nvPicPr>
              <p:cNvPr id="13" name="Graphic 12">
                <a:extLst>
                  <a:ext uri="{FF2B5EF4-FFF2-40B4-BE49-F238E27FC236}">
                    <a16:creationId xmlns:a16="http://schemas.microsoft.com/office/drawing/2014/main" id="{E284B9C8-9A5B-40AD-B7D9-B2173E4BCCE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283463" y="1206820"/>
                <a:ext cx="720000" cy="317064"/>
              </a:xfrm>
              <a:prstGeom prst="rect">
                <a:avLst/>
              </a:prstGeom>
            </p:spPr>
          </p:pic>
          <p:pic>
            <p:nvPicPr>
              <p:cNvPr id="14" name="Graphic 13">
                <a:extLst>
                  <a:ext uri="{FF2B5EF4-FFF2-40B4-BE49-F238E27FC236}">
                    <a16:creationId xmlns:a16="http://schemas.microsoft.com/office/drawing/2014/main" id="{FC45B22A-4E41-4E31-AB83-E6D33DDAF8F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 rot="10800000" flipH="1">
                <a:off x="3283463" y="1523884"/>
                <a:ext cx="720000" cy="317064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599385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57" userDrawn="1">
          <p15:clr>
            <a:srgbClr val="FBAE40"/>
          </p15:clr>
        </p15:guide>
        <p15:guide id="2" pos="7287" userDrawn="1">
          <p15:clr>
            <a:srgbClr val="FBAE40"/>
          </p15:clr>
        </p15:guide>
        <p15:guide id="3" pos="3840" userDrawn="1">
          <p15:clr>
            <a:srgbClr val="FBAE40"/>
          </p15:clr>
        </p15:guide>
        <p15:guide id="4" orient="horz" pos="216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agw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>
          <a:xfrm>
            <a:off x="0" y="1457849"/>
            <a:ext cx="12201536" cy="29156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3200" dirty="0"/>
          </a:p>
        </p:txBody>
      </p:sp>
      <p:sp>
        <p:nvSpPr>
          <p:cNvPr id="3" name="Titel 1"/>
          <p:cNvSpPr>
            <a:spLocks noGrp="1"/>
          </p:cNvSpPr>
          <p:nvPr>
            <p:ph type="title" hasCustomPrompt="1"/>
          </p:nvPr>
        </p:nvSpPr>
        <p:spPr>
          <a:xfrm>
            <a:off x="1689432" y="2435697"/>
            <a:ext cx="9888000" cy="96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7200" b="0">
                <a:solidFill>
                  <a:schemeClr val="accent1"/>
                </a:solidFill>
              </a:defRPr>
            </a:lvl1pPr>
          </a:lstStyle>
          <a:p>
            <a:r>
              <a:rPr lang="de-DE" sz="7200" b="1" dirty="0"/>
              <a:t>Schlagwort</a:t>
            </a:r>
            <a:endParaRPr lang="de-CH" sz="7200" b="1" dirty="0"/>
          </a:p>
        </p:txBody>
      </p:sp>
      <p:sp>
        <p:nvSpPr>
          <p:cNvPr id="6" name="Rechteck 5"/>
          <p:cNvSpPr/>
          <p:nvPr userDrawn="1"/>
        </p:nvSpPr>
        <p:spPr>
          <a:xfrm>
            <a:off x="0" y="5238749"/>
            <a:ext cx="12201536" cy="1619251"/>
          </a:xfrm>
          <a:prstGeom prst="rect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CH" sz="1600" dirty="0" err="1">
              <a:solidFill>
                <a:schemeClr val="bg1"/>
              </a:solidFill>
            </a:endParaRPr>
          </a:p>
        </p:txBody>
      </p:sp>
      <p:sp>
        <p:nvSpPr>
          <p:cNvPr id="8" name="Rechteck 7"/>
          <p:cNvSpPr/>
          <p:nvPr userDrawn="1"/>
        </p:nvSpPr>
        <p:spPr>
          <a:xfrm>
            <a:off x="0" y="-1"/>
            <a:ext cx="12201535" cy="1457849"/>
          </a:xfrm>
          <a:prstGeom prst="rect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CH" sz="1600" dirty="0" err="1">
              <a:solidFill>
                <a:schemeClr val="bg1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689432" y="4438650"/>
            <a:ext cx="9888000" cy="59055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lvl1pPr>
              <a:defRPr lang="de-CH" sz="2800" kern="1200" baseline="0" dirty="0">
                <a:cs typeface="+mn-cs"/>
              </a:defRPr>
            </a:lvl1pPr>
          </a:lstStyle>
          <a:p>
            <a:pPr lvl="0" defTabSz="609585" latinLnBrk="0"/>
            <a:r>
              <a:rPr lang="de-DE" dirty="0"/>
              <a:t>Untertitel / Ergänzung</a:t>
            </a:r>
            <a:endParaRPr lang="de-CH" dirty="0"/>
          </a:p>
        </p:txBody>
      </p:sp>
      <p:pic>
        <p:nvPicPr>
          <p:cNvPr id="10" name="Bild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3617" y="348552"/>
            <a:ext cx="1115936" cy="628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48570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6415087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tiegsfolie nur Cla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14">
            <a:extLst>
              <a:ext uri="{FF2B5EF4-FFF2-40B4-BE49-F238E27FC236}">
                <a16:creationId xmlns:a16="http://schemas.microsoft.com/office/drawing/2014/main" id="{3351DDB1-5605-474C-9CF3-A855A440AB49}"/>
              </a:ext>
            </a:extLst>
          </p:cNvPr>
          <p:cNvSpPr/>
          <p:nvPr userDrawn="1"/>
        </p:nvSpPr>
        <p:spPr>
          <a:xfrm>
            <a:off x="0" y="0"/>
            <a:ext cx="12191999" cy="2804584"/>
          </a:xfrm>
          <a:prstGeom prst="rect">
            <a:avLst/>
          </a:prstGeom>
          <a:solidFill>
            <a:schemeClr val="accent1"/>
          </a:solidFill>
        </p:spPr>
        <p:txBody>
          <a:bodyPr wrap="square" lIns="72000" tIns="252000" rIns="72000" bIns="72000" rtlCol="0" anchor="ctr">
            <a:noAutofit/>
          </a:bodyPr>
          <a:lstStyle/>
          <a:p>
            <a:pPr marL="0" lvl="0" indent="0" algn="ctr" defTabSz="609585" rtl="0" eaLnBrk="1" fontAlgn="base" latinLnBrk="0" hangingPunct="1">
              <a:spcBef>
                <a:spcPts val="667"/>
              </a:spcBef>
              <a:spcAft>
                <a:spcPct val="0"/>
              </a:spcAft>
              <a:buClr>
                <a:schemeClr val="bg2"/>
              </a:buClr>
              <a:buFontTx/>
              <a:buNone/>
            </a:pPr>
            <a:endParaRPr lang="de-CH" sz="4267" b="1" kern="1200" baseline="0" dirty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F93EE70-4BC0-4F4C-BDBB-2D977B09038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55999" y="1184536"/>
            <a:ext cx="6480000" cy="43551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D3B908D-5271-4D72-B82D-E538A808AA9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889999" y="4296262"/>
            <a:ext cx="2412000" cy="1070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7121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1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3617" y="3177802"/>
            <a:ext cx="1115936" cy="628597"/>
          </a:xfrm>
          <a:prstGeom prst="rect">
            <a:avLst/>
          </a:prstGeom>
        </p:spPr>
      </p:pic>
      <p:sp>
        <p:nvSpPr>
          <p:cNvPr id="13" name="Rechteck 12"/>
          <p:cNvSpPr/>
          <p:nvPr userDrawn="1"/>
        </p:nvSpPr>
        <p:spPr>
          <a:xfrm>
            <a:off x="0" y="0"/>
            <a:ext cx="12192000" cy="2804584"/>
          </a:xfrm>
          <a:prstGeom prst="rect">
            <a:avLst/>
          </a:prstGeom>
          <a:solidFill>
            <a:schemeClr val="accent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CH" sz="1600" dirty="0" err="1">
              <a:solidFill>
                <a:schemeClr val="bg1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832690" y="4251476"/>
            <a:ext cx="4478476" cy="2050951"/>
          </a:xfrm>
          <a:prstGeom prst="rect">
            <a:avLst/>
          </a:prstGeom>
        </p:spPr>
        <p:txBody>
          <a:bodyPr/>
          <a:lstStyle>
            <a:lvl1pPr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CH" noProof="0" dirty="0"/>
              <a:t>Bei Aufzählungen NICHT die Buttons oben im Menü verwenden, sondern jede Textzeile komplett markieren und mit der Tabulator-Taste </a:t>
            </a:r>
            <a:endParaRPr lang="en-US" noProof="0" dirty="0"/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7414681" y="4251476"/>
            <a:ext cx="4463700" cy="2050951"/>
          </a:xfrm>
          <a:prstGeom prst="rect">
            <a:avLst/>
          </a:prstGeom>
        </p:spPr>
        <p:txBody>
          <a:bodyPr/>
          <a:lstStyle>
            <a:lvl1pPr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CH" noProof="0" dirty="0"/>
              <a:t>Bei Aufzählungen NICHT die Buttons oben im Menü verwenden, sondern jede Textzeile komplett markieren und mit der Tabulator-Tast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2832690" y="3319200"/>
            <a:ext cx="9045691" cy="571321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99BD09D1-86BD-41F4-847F-EE80F202E17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838000" y="1191473"/>
            <a:ext cx="6516000" cy="421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9345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2 Na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 userDrawn="1"/>
        </p:nvSpPr>
        <p:spPr>
          <a:xfrm>
            <a:off x="0" y="0"/>
            <a:ext cx="12192000" cy="2804584"/>
          </a:xfrm>
          <a:prstGeom prst="rect">
            <a:avLst/>
          </a:prstGeom>
          <a:solidFill>
            <a:schemeClr val="accent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CH" sz="1600" dirty="0" err="1">
              <a:solidFill>
                <a:schemeClr val="bg1"/>
              </a:solidFill>
            </a:endParaRPr>
          </a:p>
        </p:txBody>
      </p:sp>
      <p:sp>
        <p:nvSpPr>
          <p:cNvPr id="23" name="Titel 5"/>
          <p:cNvSpPr>
            <a:spLocks noGrp="1"/>
          </p:cNvSpPr>
          <p:nvPr>
            <p:ph type="title"/>
          </p:nvPr>
        </p:nvSpPr>
        <p:spPr>
          <a:xfrm>
            <a:off x="2832690" y="3177802"/>
            <a:ext cx="4478476" cy="680912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n-lt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1867"/>
              <a:t>Click to edit Master title style</a:t>
            </a:r>
            <a:endParaRPr lang="en-US" sz="1867" dirty="0"/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7414681" y="3175532"/>
            <a:ext cx="4464526" cy="1090120"/>
          </a:xfrm>
          <a:prstGeom prst="rect">
            <a:avLst/>
          </a:prstGeom>
        </p:spPr>
        <p:txBody>
          <a:bodyPr/>
          <a:lstStyle>
            <a:lvl1pPr>
              <a:defRPr sz="1800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de-CH" noProof="0" dirty="0"/>
              <a:t>Bei Aufzählungen NICHT die Buttons oben im Menü verwenden, sondern jede Textzeile komplett markieren und mit der Tabulator-Taste </a:t>
            </a:r>
            <a:endParaRPr lang="en-US" noProof="0" dirty="0"/>
          </a:p>
        </p:txBody>
      </p:sp>
      <p:sp>
        <p:nvSpPr>
          <p:cNvPr id="35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7424163" y="4618805"/>
            <a:ext cx="4454217" cy="1412487"/>
          </a:xfrm>
          <a:prstGeom prst="rect">
            <a:avLst/>
          </a:prstGeom>
        </p:spPr>
        <p:txBody>
          <a:bodyPr/>
          <a:lstStyle>
            <a:lvl1pPr>
              <a:defRPr sz="1800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de-CH" noProof="0" dirty="0"/>
              <a:t>Bei Aufzählungen NICHT die Buttons oben im Menü verwenden, sondern jede Textzeile komplett markieren und mit der Tabulator-Taste </a:t>
            </a:r>
            <a:endParaRPr lang="en-US" noProof="0" dirty="0"/>
          </a:p>
        </p:txBody>
      </p:sp>
      <p:sp>
        <p:nvSpPr>
          <p:cNvPr id="36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2832690" y="4635129"/>
            <a:ext cx="4478476" cy="1412487"/>
          </a:xfrm>
          <a:prstGeom prst="rect">
            <a:avLst/>
          </a:prstGeom>
        </p:spPr>
        <p:txBody>
          <a:bodyPr/>
          <a:lstStyle>
            <a:lvl1pPr>
              <a:defRPr sz="1800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de-CH" noProof="0" dirty="0"/>
              <a:t>Bei Aufzählungen NICHT die Buttons oben im Menü verwenden, sondern jede Textzeile komplett markieren und mit der Tabulator-Taste </a:t>
            </a:r>
            <a:endParaRPr lang="en-US" noProof="0" dirty="0"/>
          </a:p>
        </p:txBody>
      </p:sp>
      <p:pic>
        <p:nvPicPr>
          <p:cNvPr id="19" name="Bild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3617" y="3177802"/>
            <a:ext cx="1115936" cy="628597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1A9DC520-04E4-4556-A575-783FE3B0355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838000" y="1191473"/>
            <a:ext cx="6516000" cy="421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26616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Ein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1689431" y="1653117"/>
            <a:ext cx="10188951" cy="465666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6pPr>
              <a:buAutoNum type="arabicPeriod"/>
              <a:defRPr/>
            </a:lvl6pPr>
            <a:lvl8pPr marL="0" indent="0">
              <a:buFont typeface="+mj-lt"/>
              <a:buNone/>
              <a:defRPr/>
            </a:lvl8pPr>
          </a:lstStyle>
          <a:p>
            <a:pPr lvl="0"/>
            <a:r>
              <a:rPr lang="de-CH" noProof="0" dirty="0"/>
              <a:t>Bei Aufzählungen NICHT die Buttons oben im Menü verwenden, sondern jede Textzeile komplett markieren und mit der Tabulator-Taste oder </a:t>
            </a:r>
            <a:r>
              <a:rPr lang="de-CH" noProof="0" dirty="0" err="1"/>
              <a:t>Shift+Tab</a:t>
            </a:r>
            <a:r>
              <a:rPr lang="de-CH" noProof="0" dirty="0"/>
              <a:t> die Ebene verändern (erst erscheinen </a:t>
            </a:r>
            <a:r>
              <a:rPr lang="de-CH" noProof="0" dirty="0" err="1"/>
              <a:t>Bulletpoints</a:t>
            </a:r>
            <a:r>
              <a:rPr lang="de-CH" noProof="0" dirty="0"/>
              <a:t>, dann Nummerierungen).</a:t>
            </a:r>
            <a:endParaRPr lang="en-US" noProof="0" dirty="0"/>
          </a:p>
        </p:txBody>
      </p:sp>
      <p:sp>
        <p:nvSpPr>
          <p:cNvPr id="6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404703" y="6575243"/>
            <a:ext cx="480000" cy="24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402FF4-3150-4BB9-8471-06339226EF9E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94747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7402FF4-3150-4BB9-8471-06339226EF9E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1687968" y="1653117"/>
            <a:ext cx="5040000" cy="4656667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  <a:lvl4pPr marL="1079973" marR="0" indent="-359991" algn="l" defTabSz="1219170" rtl="0" eaLnBrk="1" fontAlgn="base" latinLnBrk="0" hangingPunct="1">
              <a:lnSpc>
                <a:spcPct val="100000"/>
              </a:lnSpc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−"/>
              <a:tabLst/>
              <a:defRPr/>
            </a:lvl4pPr>
            <a:lvl6pPr>
              <a:buAutoNum type="arabicPeriod"/>
              <a:defRPr/>
            </a:lvl6pPr>
          </a:lstStyle>
          <a:p>
            <a:pPr lvl="0"/>
            <a:r>
              <a:rPr lang="de-CH" noProof="0" dirty="0"/>
              <a:t>Bei Aufzählungen NICHT die Buttons oben im Menü verwenden, sondern jede Textzeile komplett markieren und mit der Tabulator-Taste oder </a:t>
            </a:r>
            <a:r>
              <a:rPr lang="de-CH" noProof="0" dirty="0" err="1"/>
              <a:t>Shift+Tab</a:t>
            </a:r>
            <a:r>
              <a:rPr lang="de-CH" noProof="0" dirty="0"/>
              <a:t> die Ebene verändern (erst erscheinen </a:t>
            </a:r>
            <a:r>
              <a:rPr lang="de-CH" noProof="0" dirty="0" err="1"/>
              <a:t>Bulletpoints</a:t>
            </a:r>
            <a:r>
              <a:rPr lang="de-CH" noProof="0" dirty="0"/>
              <a:t>, dann Nummerierungen).</a:t>
            </a:r>
            <a:endParaRPr lang="en-US" noProof="0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>
          <a:xfrm>
            <a:off x="6838382" y="1653117"/>
            <a:ext cx="5040000" cy="4656667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6pPr>
              <a:buAutoNum type="arabicPeriod"/>
              <a:defRPr/>
            </a:lvl6pPr>
          </a:lstStyle>
          <a:p>
            <a:pPr lvl="0"/>
            <a:r>
              <a:rPr lang="de-CH" noProof="0" dirty="0"/>
              <a:t>Bei Aufzählungen NICHT die Buttons oben im Menü verwenden, sondern jede Textzeile komplett markieren und mit der Tabulator-Taste oder </a:t>
            </a:r>
            <a:r>
              <a:rPr lang="de-CH" noProof="0" dirty="0" err="1"/>
              <a:t>Shift+Tab</a:t>
            </a:r>
            <a:r>
              <a:rPr lang="de-CH" noProof="0" dirty="0"/>
              <a:t> die Ebene verändern (erst erscheinen </a:t>
            </a:r>
            <a:r>
              <a:rPr lang="de-CH" noProof="0" dirty="0" err="1"/>
              <a:t>Bulletpoints</a:t>
            </a:r>
            <a:r>
              <a:rPr lang="de-CH" noProof="0" dirty="0"/>
              <a:t>, dann Nummerierungen).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8864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7402FF4-3150-4BB9-8471-06339226EF9E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1687968" y="1653117"/>
            <a:ext cx="3312000" cy="4656667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  <a:lvl4pPr marL="1079973" marR="0" indent="-359991" algn="l" defTabSz="1219170" rtl="0" eaLnBrk="1" fontAlgn="base" latinLnBrk="0" hangingPunct="1">
              <a:lnSpc>
                <a:spcPct val="100000"/>
              </a:lnSpc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−"/>
              <a:tabLst/>
              <a:defRPr/>
            </a:lvl4pPr>
            <a:lvl6pPr>
              <a:buAutoNum type="arabicPeriod"/>
              <a:defRPr/>
            </a:lvl6pPr>
          </a:lstStyle>
          <a:p>
            <a:pPr lvl="0"/>
            <a:r>
              <a:rPr lang="de-CH" noProof="0" dirty="0"/>
              <a:t>Bei Aufzählungen NICHT die Buttons oben im Menü verwenden, sondern jede Textzeile komplett markieren und mit der Tabulator-Taste oder </a:t>
            </a:r>
            <a:r>
              <a:rPr lang="de-CH" noProof="0" dirty="0" err="1"/>
              <a:t>Shift+Tab</a:t>
            </a:r>
            <a:r>
              <a:rPr lang="de-CH" noProof="0" dirty="0"/>
              <a:t> die Ebene verändern (erst erscheinen </a:t>
            </a:r>
            <a:r>
              <a:rPr lang="de-CH" noProof="0" dirty="0" err="1"/>
              <a:t>Bulletpoints</a:t>
            </a:r>
            <a:r>
              <a:rPr lang="de-CH" noProof="0" dirty="0"/>
              <a:t>, dann Nummerierungen).</a:t>
            </a:r>
            <a:endParaRPr lang="en-US" noProof="0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>
          <a:xfrm>
            <a:off x="5127175" y="1653117"/>
            <a:ext cx="3312000" cy="4656667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6pPr>
              <a:buAutoNum type="arabicPeriod"/>
              <a:defRPr/>
            </a:lvl6pPr>
          </a:lstStyle>
          <a:p>
            <a:pPr lvl="0"/>
            <a:r>
              <a:rPr lang="de-CH" noProof="0" dirty="0"/>
              <a:t>Bei Aufzählungen NICHT die Buttons oben im Menü verwenden, sondern jede Textzeile komplett markieren und mit der Tabulator-Taste oder </a:t>
            </a:r>
            <a:r>
              <a:rPr lang="de-CH" noProof="0" dirty="0" err="1"/>
              <a:t>Shift+Tab</a:t>
            </a:r>
            <a:r>
              <a:rPr lang="de-CH" noProof="0" dirty="0"/>
              <a:t> die Ebene verändern (erst erscheinen </a:t>
            </a:r>
            <a:r>
              <a:rPr lang="de-CH" noProof="0" dirty="0" err="1"/>
              <a:t>Bulletpoints</a:t>
            </a:r>
            <a:r>
              <a:rPr lang="de-CH" noProof="0" dirty="0"/>
              <a:t>, dann Nummerierungen).</a:t>
            </a:r>
            <a:endParaRPr lang="en-US" noProof="0" dirty="0"/>
          </a:p>
        </p:txBody>
      </p:sp>
      <p:sp>
        <p:nvSpPr>
          <p:cNvPr id="8" name="Inhaltsplatzhalter 8"/>
          <p:cNvSpPr>
            <a:spLocks noGrp="1"/>
          </p:cNvSpPr>
          <p:nvPr>
            <p:ph sz="quarter" idx="15" hasCustomPrompt="1"/>
          </p:nvPr>
        </p:nvSpPr>
        <p:spPr>
          <a:xfrm>
            <a:off x="8566383" y="1653116"/>
            <a:ext cx="3312000" cy="4656667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6pPr>
              <a:buAutoNum type="arabicPeriod"/>
              <a:defRPr/>
            </a:lvl6pPr>
          </a:lstStyle>
          <a:p>
            <a:pPr lvl="0"/>
            <a:r>
              <a:rPr lang="de-CH" noProof="0" dirty="0"/>
              <a:t>Bei Aufzählungen NICHT die Buttons oben im Menü verwenden, sondern jede Textzeile komplett markieren und mit der Tabulator-Taste oder </a:t>
            </a:r>
            <a:r>
              <a:rPr lang="de-CH" noProof="0" dirty="0" err="1"/>
              <a:t>Shift+Tab</a:t>
            </a:r>
            <a:r>
              <a:rPr lang="de-CH" noProof="0" dirty="0"/>
              <a:t> die Ebene verändern (erst erscheinen </a:t>
            </a:r>
            <a:r>
              <a:rPr lang="de-CH" noProof="0" dirty="0" err="1"/>
              <a:t>Bulletpoints</a:t>
            </a:r>
            <a:r>
              <a:rPr lang="de-CH" noProof="0" dirty="0"/>
              <a:t>, dann Nummerierungen).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9720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1/3;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7402FF4-3150-4BB9-8471-06339226EF9E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1687968" y="1653117"/>
            <a:ext cx="3312000" cy="4656667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  <a:lvl4pPr marL="1079973" marR="0" indent="-359991" algn="l" defTabSz="1219170" rtl="0" eaLnBrk="1" fontAlgn="base" latinLnBrk="0" hangingPunct="1">
              <a:lnSpc>
                <a:spcPct val="100000"/>
              </a:lnSpc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−"/>
              <a:tabLst/>
              <a:defRPr/>
            </a:lvl4pPr>
            <a:lvl6pPr>
              <a:buAutoNum type="arabicPeriod"/>
              <a:defRPr/>
            </a:lvl6pPr>
          </a:lstStyle>
          <a:p>
            <a:pPr lvl="0"/>
            <a:r>
              <a:rPr lang="de-CH" noProof="0" dirty="0"/>
              <a:t>Bei Aufzählungen NICHT die Buttons oben im Menü verwenden, sondern jede Textzeile komplett markieren und mit der Tabulator-Taste oder </a:t>
            </a:r>
            <a:r>
              <a:rPr lang="de-CH" noProof="0" dirty="0" err="1"/>
              <a:t>Shift+Tab</a:t>
            </a:r>
            <a:r>
              <a:rPr lang="de-CH" noProof="0" dirty="0"/>
              <a:t> die Ebene verändern (erst erscheinen </a:t>
            </a:r>
            <a:r>
              <a:rPr lang="de-CH" noProof="0" dirty="0" err="1"/>
              <a:t>Bulletpoints</a:t>
            </a:r>
            <a:r>
              <a:rPr lang="de-CH" noProof="0" dirty="0"/>
              <a:t>, dann Nummerierungen).</a:t>
            </a:r>
            <a:endParaRPr lang="en-US" noProof="0" dirty="0"/>
          </a:p>
        </p:txBody>
      </p:sp>
      <p:sp>
        <p:nvSpPr>
          <p:cNvPr id="8" name="Inhaltsplatzhalter 8"/>
          <p:cNvSpPr>
            <a:spLocks noGrp="1"/>
          </p:cNvSpPr>
          <p:nvPr>
            <p:ph sz="quarter" idx="15" hasCustomPrompt="1"/>
          </p:nvPr>
        </p:nvSpPr>
        <p:spPr>
          <a:xfrm>
            <a:off x="5127175" y="1653116"/>
            <a:ext cx="6751208" cy="4656667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6pPr>
              <a:buAutoNum type="arabicPeriod"/>
              <a:defRPr/>
            </a:lvl6pPr>
          </a:lstStyle>
          <a:p>
            <a:pPr lvl="0"/>
            <a:r>
              <a:rPr lang="de-CH" noProof="0" dirty="0"/>
              <a:t>Bei Aufzählungen NICHT die Buttons oben im Menü verwenden, sondern jede Textzeile komplett markieren und mit der Tabulator-Taste oder </a:t>
            </a:r>
            <a:r>
              <a:rPr lang="de-CH" noProof="0" dirty="0" err="1"/>
              <a:t>Shift+Tab</a:t>
            </a:r>
            <a:r>
              <a:rPr lang="de-CH" noProof="0" dirty="0"/>
              <a:t> die Ebene verändern (erst erscheinen </a:t>
            </a:r>
            <a:r>
              <a:rPr lang="de-CH" noProof="0" dirty="0" err="1"/>
              <a:t>Bulletpoints</a:t>
            </a:r>
            <a:r>
              <a:rPr lang="de-CH" noProof="0" dirty="0"/>
              <a:t>, dann Nummerierungen).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73756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2/3;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7402FF4-3150-4BB9-8471-06339226EF9E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1687967" y="1653117"/>
            <a:ext cx="6751207" cy="4656667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  <a:lvl4pPr marL="1079973" marR="0" indent="-359991" algn="l" defTabSz="1219170" rtl="0" eaLnBrk="1" fontAlgn="base" latinLnBrk="0" hangingPunct="1">
              <a:lnSpc>
                <a:spcPct val="100000"/>
              </a:lnSpc>
              <a:spcBef>
                <a:spcPts val="333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−"/>
              <a:tabLst/>
              <a:defRPr/>
            </a:lvl4pPr>
            <a:lvl6pPr>
              <a:buAutoNum type="arabicPeriod"/>
              <a:defRPr/>
            </a:lvl6pPr>
          </a:lstStyle>
          <a:p>
            <a:pPr lvl="0"/>
            <a:r>
              <a:rPr lang="de-CH" noProof="0" dirty="0"/>
              <a:t>Bei Aufzählungen NICHT die Buttons oben im Menü verwenden, sondern jede Textzeile komplett markieren und mit der Tabulator-Taste oder </a:t>
            </a:r>
            <a:r>
              <a:rPr lang="de-CH" noProof="0" dirty="0" err="1"/>
              <a:t>Shift+Tab</a:t>
            </a:r>
            <a:r>
              <a:rPr lang="de-CH" noProof="0" dirty="0"/>
              <a:t> die Ebene verändern (erst erscheinen </a:t>
            </a:r>
            <a:r>
              <a:rPr lang="de-CH" noProof="0" dirty="0" err="1"/>
              <a:t>Bulletpoints</a:t>
            </a:r>
            <a:r>
              <a:rPr lang="de-CH" noProof="0" dirty="0"/>
              <a:t>, dann Nummerierungen).</a:t>
            </a:r>
            <a:endParaRPr lang="en-US" noProof="0" dirty="0"/>
          </a:p>
        </p:txBody>
      </p:sp>
      <p:sp>
        <p:nvSpPr>
          <p:cNvPr id="8" name="Inhaltsplatzhalter 8"/>
          <p:cNvSpPr>
            <a:spLocks noGrp="1"/>
          </p:cNvSpPr>
          <p:nvPr>
            <p:ph sz="quarter" idx="15" hasCustomPrompt="1"/>
          </p:nvPr>
        </p:nvSpPr>
        <p:spPr>
          <a:xfrm>
            <a:off x="8566383" y="1653116"/>
            <a:ext cx="3312000" cy="4656667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6pPr>
              <a:buAutoNum type="arabicPeriod"/>
              <a:defRPr/>
            </a:lvl6pPr>
          </a:lstStyle>
          <a:p>
            <a:pPr lvl="0"/>
            <a:r>
              <a:rPr lang="de-CH" noProof="0" dirty="0"/>
              <a:t>Bei Aufzählungen NICHT die Buttons oben im Menü verwenden, sondern jede Textzeile komplett markieren und mit der Tabulator-Taste oder </a:t>
            </a:r>
            <a:r>
              <a:rPr lang="de-CH" noProof="0" dirty="0" err="1"/>
              <a:t>Shift+Tab</a:t>
            </a:r>
            <a:r>
              <a:rPr lang="de-CH" noProof="0" dirty="0"/>
              <a:t> die Ebene verändern (erst erscheinen </a:t>
            </a:r>
            <a:r>
              <a:rPr lang="de-CH" noProof="0" dirty="0" err="1"/>
              <a:t>Bulletpoints</a:t>
            </a:r>
            <a:r>
              <a:rPr lang="de-CH" noProof="0" dirty="0"/>
              <a:t>, dann Nummerierungen).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92445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89431" y="1659465"/>
            <a:ext cx="10188951" cy="465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noProof="0" dirty="0"/>
              <a:t>Stufe 1 - Text</a:t>
            </a:r>
          </a:p>
          <a:p>
            <a:pPr lvl="1"/>
            <a:r>
              <a:rPr lang="de-CH" noProof="0" dirty="0"/>
              <a:t>Stufe 2 - Aufzählung Ebene 1</a:t>
            </a:r>
          </a:p>
          <a:p>
            <a:pPr lvl="2"/>
            <a:r>
              <a:rPr lang="de-CH" noProof="0" dirty="0"/>
              <a:t>Stufe 3 - Aufzählung Ebene 2</a:t>
            </a:r>
          </a:p>
          <a:p>
            <a:pPr lvl="3"/>
            <a:r>
              <a:rPr lang="de-CH" noProof="0" dirty="0"/>
              <a:t>Stufe 4 - Aufzählung Ebene 3</a:t>
            </a:r>
          </a:p>
          <a:p>
            <a:pPr lvl="4"/>
            <a:r>
              <a:rPr lang="de-CH" noProof="0" dirty="0"/>
              <a:t>Stufe 5 - Nummerierung Ebene 1</a:t>
            </a:r>
          </a:p>
          <a:p>
            <a:pPr lvl="5"/>
            <a:r>
              <a:rPr lang="de-CH" noProof="0" dirty="0"/>
              <a:t>Stufe 6 - Nummerierung Ebene 2</a:t>
            </a:r>
          </a:p>
          <a:p>
            <a:pPr lvl="6"/>
            <a:r>
              <a:rPr lang="de-CH" noProof="0" dirty="0"/>
              <a:t>Stufe 7 - Nummerierung Ebene </a:t>
            </a:r>
            <a:r>
              <a:rPr lang="en-US" noProof="0" dirty="0"/>
              <a:t>3</a:t>
            </a:r>
          </a:p>
          <a:p>
            <a:pPr lvl="7"/>
            <a:r>
              <a:rPr lang="de-CH" noProof="0" dirty="0"/>
              <a:t>Stufe 8 - Text</a:t>
            </a:r>
            <a:endParaRPr lang="en-US" noProof="0" dirty="0"/>
          </a:p>
          <a:p>
            <a:pPr lvl="8"/>
            <a:r>
              <a:rPr lang="en-US" noProof="0" dirty="0" err="1"/>
              <a:t>Stufe</a:t>
            </a:r>
            <a:r>
              <a:rPr lang="en-US" noProof="0" dirty="0"/>
              <a:t> 9 - Tex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398383" y="6575243"/>
            <a:ext cx="480000" cy="24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fld id="{D7402FF4-3150-4BB9-8471-06339226EF9E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10" name="object 45"/>
          <p:cNvSpPr/>
          <p:nvPr userDrawn="1"/>
        </p:nvSpPr>
        <p:spPr>
          <a:xfrm flipV="1">
            <a:off x="1822449" y="100331"/>
            <a:ext cx="45719" cy="45719"/>
          </a:xfrm>
          <a:custGeom>
            <a:avLst/>
            <a:gdLst/>
            <a:ahLst/>
            <a:cxnLst/>
            <a:rect l="l" t="t" r="r" b="b"/>
            <a:pathLst>
              <a:path h="986155">
                <a:moveTo>
                  <a:pt x="0" y="0"/>
                </a:moveTo>
                <a:lnTo>
                  <a:pt x="0" y="985785"/>
                </a:lnTo>
              </a:path>
            </a:pathLst>
          </a:custGeom>
          <a:ln w="12700">
            <a:solidFill>
              <a:srgbClr val="EAEAE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8" name="Bild 8"/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313617" y="348552"/>
            <a:ext cx="1115936" cy="628597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689431" y="504150"/>
            <a:ext cx="10188951" cy="571321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de-DE" dirty="0"/>
              <a:t>Titelmasterformat durch Klicken bearbeiten</a:t>
            </a:r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33" r:id="rId2"/>
    <p:sldLayoutId id="2147483714" r:id="rId3"/>
    <p:sldLayoutId id="2147483715" r:id="rId4"/>
    <p:sldLayoutId id="2147483704" r:id="rId5"/>
    <p:sldLayoutId id="2147483705" r:id="rId6"/>
    <p:sldLayoutId id="2147483730" r:id="rId7"/>
    <p:sldLayoutId id="2147483731" r:id="rId8"/>
    <p:sldLayoutId id="2147483732" r:id="rId9"/>
    <p:sldLayoutId id="2147483729" r:id="rId10"/>
    <p:sldLayoutId id="2147483706" r:id="rId11"/>
    <p:sldLayoutId id="2147483734" r:id="rId12"/>
    <p:sldLayoutId id="2147483735" r:id="rId13"/>
  </p:sldLayoutIdLst>
  <p:hf hdr="0" ftr="0" dt="0"/>
  <p:txStyles>
    <p:titleStyle>
      <a:lvl1pPr algn="l" rtl="0" eaLnBrk="1" fontAlgn="base" hangingPunct="1">
        <a:lnSpc>
          <a:spcPts val="3800"/>
        </a:lnSpc>
        <a:spcBef>
          <a:spcPct val="0"/>
        </a:spcBef>
        <a:spcAft>
          <a:spcPct val="0"/>
        </a:spcAft>
        <a:defRPr sz="3400" b="0" i="0" cap="none" spc="0" baseline="0">
          <a:solidFill>
            <a:schemeClr val="bg2"/>
          </a:solidFill>
          <a:latin typeface="Arial"/>
          <a:ea typeface="+mj-ea"/>
          <a:cs typeface="Arial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>
          <a:solidFill>
            <a:schemeClr val="tx1"/>
          </a:solidFill>
          <a:latin typeface="Segoe UI" pitchFamily="-128" charset="0"/>
          <a:ea typeface="ＭＳ Ｐゴシック" pitchFamily="-128" charset="-128"/>
          <a:cs typeface="ＭＳ Ｐゴシック" pitchFamily="-12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>
          <a:solidFill>
            <a:schemeClr val="tx1"/>
          </a:solidFill>
          <a:latin typeface="Segoe UI" pitchFamily="-128" charset="0"/>
          <a:ea typeface="ＭＳ Ｐゴシック" pitchFamily="-128" charset="-128"/>
          <a:cs typeface="ＭＳ Ｐゴシック" pitchFamily="-12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>
          <a:solidFill>
            <a:schemeClr val="tx1"/>
          </a:solidFill>
          <a:latin typeface="Segoe UI" pitchFamily="-128" charset="0"/>
          <a:ea typeface="ＭＳ Ｐゴシック" pitchFamily="-128" charset="-128"/>
          <a:cs typeface="ＭＳ Ｐゴシック" pitchFamily="-12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>
          <a:solidFill>
            <a:schemeClr val="tx1"/>
          </a:solidFill>
          <a:latin typeface="Segoe UI" pitchFamily="-128" charset="0"/>
          <a:ea typeface="ＭＳ Ｐゴシック" pitchFamily="-128" charset="-128"/>
          <a:cs typeface="ＭＳ Ｐゴシック" pitchFamily="-128" charset="-128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467">
          <a:solidFill>
            <a:schemeClr val="tx1"/>
          </a:solidFill>
          <a:latin typeface="Segoe UI" pitchFamily="-128" charset="0"/>
          <a:ea typeface="ＭＳ Ｐゴシック" pitchFamily="-128" charset="-128"/>
          <a:cs typeface="ＭＳ Ｐゴシック" pitchFamily="-128" charset="-128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467">
          <a:solidFill>
            <a:schemeClr val="tx1"/>
          </a:solidFill>
          <a:latin typeface="Segoe UI" pitchFamily="-128" charset="0"/>
          <a:ea typeface="ＭＳ Ｐゴシック" pitchFamily="-128" charset="-128"/>
          <a:cs typeface="ＭＳ Ｐゴシック" pitchFamily="-128" charset="-128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467">
          <a:solidFill>
            <a:schemeClr val="tx1"/>
          </a:solidFill>
          <a:latin typeface="Segoe UI" pitchFamily="-128" charset="0"/>
          <a:ea typeface="ＭＳ Ｐゴシック" pitchFamily="-128" charset="-128"/>
          <a:cs typeface="ＭＳ Ｐゴシック" pitchFamily="-128" charset="-128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467">
          <a:solidFill>
            <a:schemeClr val="tx1"/>
          </a:solidFill>
          <a:latin typeface="Segoe UI" pitchFamily="-128" charset="0"/>
          <a:ea typeface="ＭＳ Ｐゴシック" pitchFamily="-128" charset="-128"/>
          <a:cs typeface="ＭＳ Ｐゴシック" pitchFamily="-128" charset="-128"/>
        </a:defRPr>
      </a:lvl9pPr>
    </p:titleStyle>
    <p:bodyStyle>
      <a:lvl1pPr marL="0" indent="0" algn="l" rtl="0" eaLnBrk="1" fontAlgn="base" hangingPunct="1">
        <a:spcBef>
          <a:spcPts val="667"/>
        </a:spcBef>
        <a:spcAft>
          <a:spcPct val="0"/>
        </a:spcAft>
        <a:buClr>
          <a:schemeClr val="bg2"/>
        </a:buClr>
        <a:buFontTx/>
        <a:buNone/>
        <a:defRPr sz="1800" baseline="0">
          <a:solidFill>
            <a:schemeClr val="bg2"/>
          </a:solidFill>
          <a:latin typeface="+mj-lt"/>
          <a:ea typeface="+mn-ea"/>
          <a:cs typeface="Arial" panose="020B0604020202020204" pitchFamily="34" charset="0"/>
        </a:defRPr>
      </a:lvl1pPr>
      <a:lvl2pPr marL="359991" indent="-359991" algn="l" rtl="0" eaLnBrk="1" fontAlgn="base" hangingPunct="1">
        <a:spcBef>
          <a:spcPts val="667"/>
        </a:spcBef>
        <a:spcAft>
          <a:spcPct val="0"/>
        </a:spcAft>
        <a:buClr>
          <a:schemeClr val="bg2"/>
        </a:buClr>
        <a:buFont typeface="Symbol" panose="05050102010706020507" pitchFamily="18" charset="2"/>
        <a:buChar char=""/>
        <a:defRPr sz="1800">
          <a:solidFill>
            <a:schemeClr val="bg2"/>
          </a:solidFill>
          <a:latin typeface="+mj-lt"/>
          <a:ea typeface="+mn-ea"/>
          <a:cs typeface="Arial" panose="020B0604020202020204" pitchFamily="34" charset="0"/>
        </a:defRPr>
      </a:lvl2pPr>
      <a:lvl3pPr marL="719982" indent="-359991" algn="l" rtl="0" eaLnBrk="1" fontAlgn="base" hangingPunct="1">
        <a:spcBef>
          <a:spcPts val="667"/>
        </a:spcBef>
        <a:spcAft>
          <a:spcPct val="0"/>
        </a:spcAft>
        <a:buClr>
          <a:schemeClr val="bg2"/>
        </a:buClr>
        <a:buFont typeface="Arial" panose="020B0604020202020204" pitchFamily="34" charset="0"/>
        <a:buChar char="•"/>
        <a:defRPr sz="1800">
          <a:solidFill>
            <a:schemeClr val="bg2"/>
          </a:solidFill>
          <a:latin typeface="+mj-lt"/>
          <a:ea typeface="+mn-ea"/>
          <a:cs typeface="Arial" panose="020B0604020202020204" pitchFamily="34" charset="0"/>
        </a:defRPr>
      </a:lvl3pPr>
      <a:lvl4pPr marL="1079973" indent="-359991" algn="l" rtl="0" eaLnBrk="1" fontAlgn="base" hangingPunct="1">
        <a:spcBef>
          <a:spcPts val="333"/>
        </a:spcBef>
        <a:spcAft>
          <a:spcPct val="0"/>
        </a:spcAft>
        <a:buClr>
          <a:schemeClr val="bg2"/>
        </a:buClr>
        <a:buSzPct val="100000"/>
        <a:buFont typeface="Arial" panose="020B0604020202020204" pitchFamily="34" charset="0"/>
        <a:buChar char="•"/>
        <a:defRPr sz="1400" baseline="0">
          <a:solidFill>
            <a:schemeClr val="bg2"/>
          </a:solidFill>
          <a:latin typeface="+mj-lt"/>
          <a:ea typeface="+mn-ea"/>
          <a:cs typeface="Arial" panose="020B0604020202020204" pitchFamily="34" charset="0"/>
        </a:defRPr>
      </a:lvl4pPr>
      <a:lvl5pPr marL="0" indent="-359991" algn="l" rtl="0" eaLnBrk="1" fontAlgn="base" hangingPunct="1">
        <a:spcBef>
          <a:spcPts val="667"/>
        </a:spcBef>
        <a:spcAft>
          <a:spcPct val="0"/>
        </a:spcAft>
        <a:buClr>
          <a:schemeClr val="bg2"/>
        </a:buClr>
        <a:buFont typeface="+mj-lt"/>
        <a:buAutoNum type="arabicPeriod"/>
        <a:defRPr sz="1800">
          <a:solidFill>
            <a:schemeClr val="bg2"/>
          </a:solidFill>
          <a:latin typeface="+mj-lt"/>
          <a:ea typeface="+mn-ea"/>
          <a:cs typeface="Arial" panose="020B0604020202020204" pitchFamily="34" charset="0"/>
        </a:defRPr>
      </a:lvl5pPr>
      <a:lvl6pPr marL="719982" indent="-359991" algn="l" rtl="0" eaLnBrk="1" fontAlgn="base" hangingPunct="1">
        <a:spcBef>
          <a:spcPts val="667"/>
        </a:spcBef>
        <a:spcAft>
          <a:spcPct val="0"/>
        </a:spcAft>
        <a:buClr>
          <a:schemeClr val="bg2"/>
        </a:buClr>
        <a:buFont typeface="+mj-lt"/>
        <a:buAutoNum type="arabicPeriod"/>
        <a:defRPr sz="1800">
          <a:solidFill>
            <a:schemeClr val="bg2"/>
          </a:solidFill>
          <a:latin typeface="+mj-lt"/>
          <a:ea typeface="+mn-ea"/>
          <a:cs typeface="Arial" panose="020B0604020202020204" pitchFamily="34" charset="0"/>
        </a:defRPr>
      </a:lvl6pPr>
      <a:lvl7pPr marL="1079973" indent="-359991" algn="l" rtl="0" eaLnBrk="1" fontAlgn="base" hangingPunct="1">
        <a:spcBef>
          <a:spcPts val="333"/>
        </a:spcBef>
        <a:spcAft>
          <a:spcPct val="0"/>
        </a:spcAft>
        <a:buClr>
          <a:schemeClr val="bg2"/>
        </a:buClr>
        <a:buFont typeface="+mj-lt"/>
        <a:buAutoNum type="arabicPeriod"/>
        <a:defRPr sz="1400" baseline="0">
          <a:solidFill>
            <a:schemeClr val="bg2"/>
          </a:solidFill>
          <a:latin typeface="+mj-lt"/>
          <a:ea typeface="+mn-ea"/>
          <a:cs typeface="Arial" panose="020B0604020202020204" pitchFamily="34" charset="0"/>
        </a:defRPr>
      </a:lvl7pPr>
      <a:lvl8pPr marL="0" indent="0" algn="l" rtl="0" eaLnBrk="1" fontAlgn="base" hangingPunct="1">
        <a:spcBef>
          <a:spcPts val="667"/>
        </a:spcBef>
        <a:spcAft>
          <a:spcPct val="0"/>
        </a:spcAft>
        <a:buClr>
          <a:srgbClr val="C00000"/>
        </a:buClr>
        <a:buFont typeface="+mj-lt"/>
        <a:buNone/>
        <a:tabLst>
          <a:tab pos="958827" algn="l"/>
        </a:tabLst>
        <a:defRPr sz="1800" baseline="0">
          <a:solidFill>
            <a:schemeClr val="bg2"/>
          </a:solidFill>
          <a:latin typeface="+mj-lt"/>
          <a:ea typeface="+mn-ea"/>
        </a:defRPr>
      </a:lvl8pPr>
      <a:lvl9pPr marL="0" indent="0" algn="l" rtl="0" eaLnBrk="1" fontAlgn="base" hangingPunct="1">
        <a:spcBef>
          <a:spcPts val="667"/>
        </a:spcBef>
        <a:spcAft>
          <a:spcPct val="0"/>
        </a:spcAft>
        <a:defRPr sz="1800">
          <a:solidFill>
            <a:schemeClr val="bg2"/>
          </a:solidFill>
          <a:latin typeface="+mj-lt"/>
          <a:ea typeface="+mn-ea"/>
          <a:cs typeface="Arial" pitchFamily="34" charset="0"/>
        </a:defRPr>
      </a:lvl9pPr>
    </p:bodyStyle>
    <p:otherStyle>
      <a:defPPr>
        <a:defRPr lang="de-DE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41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logforlearning.com/2019/06/learning-java-oop-understanding.html" TargetMode="Externa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Relationship Id="rId5" Type="http://schemas.openxmlformats.org/officeDocument/2006/relationships/hyperlink" Target="https://x-wei.github.io/algo-ds-mindmap.html" TargetMode="External"/><Relationship Id="rId4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pixabay.com/en/job-interview-colleagues-business-437026/" TargetMode="External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5.xml"/><Relationship Id="rId5" Type="http://schemas.openxmlformats.org/officeDocument/2006/relationships/hyperlink" Target="https://www.comicbookdaily.com/collecting-community/time-to-collect/a-new-beginning/" TargetMode="External"/><Relationship Id="rId4" Type="http://schemas.openxmlformats.org/officeDocument/2006/relationships/image" Target="../media/image27.jp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allpaperflare.com/100-us-dollar-banknote-lot-money-cash-bills-wealth-currency-wallpaper-pmpwo/download/1366x768" TargetMode="External"/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creativecommons.org/licenses/by-nc-nd/3.0/" TargetMode="External"/><Relationship Id="rId5" Type="http://schemas.openxmlformats.org/officeDocument/2006/relationships/hyperlink" Target="https://tenzine.blogspot.com/2018/05/small-towns-or-big-cities.html" TargetMode="External"/><Relationship Id="rId4" Type="http://schemas.openxmlformats.org/officeDocument/2006/relationships/image" Target="../media/image3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www.wallpaperflare.com/code-web-development-javascript-computer-screen-pixels-programming-php-syntax-highlighting-programming-language-html-wallpaper-hwrpp/download/3840x2160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www.flickr.com/photos/servantofchaos/8293062984/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en.wikipedia.org/wiki/File:Hunting_tiger.JPG" TargetMode="External"/><Relationship Id="rId5" Type="http://schemas.openxmlformats.org/officeDocument/2006/relationships/image" Target="../media/image42.JPG"/><Relationship Id="rId4" Type="http://schemas.openxmlformats.org/officeDocument/2006/relationships/hyperlink" Target="https://svgsilh.com/image/311658.html" TargetMode="Externa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122914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9D2A0F9B-D174-EA21-B020-36842718CECC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649577" y="2232837"/>
            <a:ext cx="5336405" cy="3625703"/>
          </a:xfr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873474-3A5B-CE4B-B07B-013FD0C514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7402FF4-3150-4BB9-8471-06339226EF9E}" type="slidenum">
              <a:rPr lang="de-CH" smtClean="0"/>
              <a:pPr/>
              <a:t>10</a:t>
            </a:fld>
            <a:endParaRPr lang="de-CH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1E0D811-D94B-8C31-CF0E-E4D6D1BA94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Programming</a:t>
            </a:r>
            <a:endParaRPr lang="vi-V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0A8D2F6-1E7E-6502-2D7C-CF1F12E8428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6991358" y="2232836"/>
            <a:ext cx="4551065" cy="3625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72157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1FA0EC-B0EC-54FD-419F-DC77C82133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7402FF4-3150-4BB9-8471-06339226EF9E}" type="slidenum">
              <a:rPr lang="de-CH" smtClean="0"/>
              <a:pPr/>
              <a:t>11</a:t>
            </a:fld>
            <a:endParaRPr lang="de-CH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D82EC3A-54B7-1D3D-81D3-41DCE6F021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Career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540B962-563F-612D-A78A-C2C5B2A97E6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534203" y="1881411"/>
            <a:ext cx="5561797" cy="371076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7C68CFC-A1CF-55B9-91D6-B6189FAF16C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6710115" y="1881411"/>
            <a:ext cx="4947682" cy="3710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73983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5E53532-0701-3840-E1D6-ACA094B44C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7402FF4-3150-4BB9-8471-06339226EF9E}" type="slidenum">
              <a:rPr lang="de-CH" smtClean="0"/>
              <a:pPr/>
              <a:t>12</a:t>
            </a:fld>
            <a:endParaRPr lang="de-CH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EA1EB04-21B8-9305-520B-E7D1B8AA2E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ffective Communication</a:t>
            </a:r>
            <a:endParaRPr lang="vi-VN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9A150B2-C67D-CEF4-B546-6278ED6C19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3548" y="1455571"/>
            <a:ext cx="9394191" cy="5119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37504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63DC8AC8-3EE6-0346-C3D1-617A95A52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err="1"/>
              <a:t>Nuongdoan</a:t>
            </a:r>
            <a:r>
              <a:rPr lang="en-GB" dirty="0"/>
              <a:t> |  </a:t>
            </a:r>
            <a:r>
              <a:rPr lang="en-US" dirty="0"/>
              <a:t>24.07.2025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46339" y="4248961"/>
            <a:ext cx="12615407" cy="1477328"/>
          </a:xfrm>
        </p:spPr>
        <p:txBody>
          <a:bodyPr/>
          <a:lstStyle/>
          <a:p>
            <a:r>
              <a:rPr lang="en-US" sz="4400" dirty="0"/>
              <a:t>CRITICAL THINKING &amp; DECISION-MAKING SKILLS</a:t>
            </a:r>
            <a:endParaRPr lang="en-GB" sz="4400" dirty="0"/>
          </a:p>
        </p:txBody>
      </p:sp>
      <p:pic>
        <p:nvPicPr>
          <p:cNvPr id="9" name="Picture Placeholder 8" descr="A person looking at a sign&#10;&#10;AI-generated content may be incorrect.">
            <a:extLst>
              <a:ext uri="{FF2B5EF4-FFF2-40B4-BE49-F238E27FC236}">
                <a16:creationId xmlns:a16="http://schemas.microsoft.com/office/drawing/2014/main" id="{D5DF52E1-3CAC-E7B4-DCA4-097B6F5DCA7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135" b="59619"/>
          <a:stretch>
            <a:fillRect/>
          </a:stretch>
        </p:blipFill>
        <p:spPr>
          <a:xfrm>
            <a:off x="0" y="1276140"/>
            <a:ext cx="12192000" cy="2049864"/>
          </a:xfrm>
        </p:spPr>
      </p:pic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C1E36C-EE70-7274-CE1B-4C2A7260B6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7402FF4-3150-4BB9-8471-06339226EF9E}" type="slidenum">
              <a:rPr lang="de-CH" smtClean="0"/>
              <a:pPr/>
              <a:t>14</a:t>
            </a:fld>
            <a:endParaRPr lang="de-CH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AFA6046-EB2D-6111-DF04-238B6A8030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blem Solving</a:t>
            </a:r>
            <a:endParaRPr lang="vi-VN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06DB33E-4899-BB94-8C97-5D950D8C63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9431" y="1465988"/>
            <a:ext cx="9337956" cy="52292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463086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C99DDF9-38A4-0166-4996-F4057DB2BC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7402FF4-3150-4BB9-8471-06339226EF9E}" type="slidenum">
              <a:rPr lang="de-CH" smtClean="0"/>
              <a:pPr/>
              <a:t>15</a:t>
            </a:fld>
            <a:endParaRPr lang="de-CH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0CD0778-A3C5-F4A4-F058-5B2FBD949B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Time</a:t>
            </a:r>
            <a:r>
              <a:rPr lang="vi-VN" dirty="0"/>
              <a:t> </a:t>
            </a:r>
            <a:r>
              <a:rPr lang="vi-VN" dirty="0" err="1"/>
              <a:t>management</a:t>
            </a:r>
            <a:endParaRPr lang="vi-VN" dirty="0"/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33196245-D831-3C4B-284C-036DD0E84FC3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3173967" y="1384340"/>
            <a:ext cx="5682955" cy="4969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2839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BB0F538D-B3D6-124C-ED96-87637F059115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541190" y="2332298"/>
            <a:ext cx="5168494" cy="2910828"/>
          </a:xfr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02321A2-52E3-3EE0-2A6C-16B1C0C9A3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7402FF4-3150-4BB9-8471-06339226EF9E}" type="slidenum">
              <a:rPr lang="de-CH" smtClean="0"/>
              <a:pPr/>
              <a:t>16</a:t>
            </a:fld>
            <a:endParaRPr lang="de-CH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8BEDCBB-B694-543B-62CE-2724E443FB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English</a:t>
            </a:r>
            <a:r>
              <a:rPr lang="vi-VN" dirty="0"/>
              <a:t> </a:t>
            </a:r>
            <a:r>
              <a:rPr lang="vi-VN" dirty="0" err="1"/>
              <a:t>Club</a:t>
            </a:r>
            <a:endParaRPr lang="vi-VN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0362FCD-544D-E364-CBA2-8A4E7F5E463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6096000" y="2332298"/>
            <a:ext cx="5560985" cy="291082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14F3434-C7D9-B4FF-6754-4BB5EA100945}"/>
              </a:ext>
            </a:extLst>
          </p:cNvPr>
          <p:cNvSpPr txBox="1"/>
          <p:nvPr/>
        </p:nvSpPr>
        <p:spPr>
          <a:xfrm>
            <a:off x="4494028" y="8780621"/>
            <a:ext cx="9753600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vi-VN" sz="900">
                <a:hlinkClick r:id="rId5" tooltip="https://tenzine.blogspot.com/2018/05/small-towns-or-big-cities.html"/>
              </a:rPr>
              <a:t>This Photo</a:t>
            </a:r>
            <a:r>
              <a:rPr lang="vi-VN" sz="900"/>
              <a:t> by Unknown Author is licensed under </a:t>
            </a:r>
            <a:r>
              <a:rPr lang="vi-VN" sz="900">
                <a:hlinkClick r:id="rId6" tooltip="https://creativecommons.org/licenses/by-nc-nd/3.0/"/>
              </a:rPr>
              <a:t>CC BY-NC-ND</a:t>
            </a:r>
            <a:endParaRPr lang="vi-VN" sz="900"/>
          </a:p>
        </p:txBody>
      </p:sp>
    </p:spTree>
    <p:extLst>
      <p:ext uri="{BB962C8B-B14F-4D97-AF65-F5344CB8AC3E}">
        <p14:creationId xmlns:p14="http://schemas.microsoft.com/office/powerpoint/2010/main" val="397087366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13FEF5-A4A9-887F-9562-D10C6F53C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7402FF4-3150-4BB9-8471-06339226EF9E}" type="slidenum">
              <a:rPr lang="de-CH" smtClean="0"/>
              <a:pPr/>
              <a:t>17</a:t>
            </a:fld>
            <a:endParaRPr lang="de-CH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BF7E70A-0300-BD52-491E-BB45B01540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Challenge</a:t>
            </a:r>
            <a:endParaRPr lang="vi-VN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7885E8F-F21E-25E7-FDBD-72A48F0C6D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857" y="1856634"/>
            <a:ext cx="4013680" cy="345964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72E191B-1BF6-6707-81A0-EF8CED1CCB9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5519731" y="1856634"/>
            <a:ext cx="6061511" cy="3459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1689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FC0B797-02C3-DD13-503E-519F8E2762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7402FF4-3150-4BB9-8471-06339226EF9E}" type="slidenum">
              <a:rPr lang="de-CH" smtClean="0"/>
              <a:pPr/>
              <a:t>18</a:t>
            </a:fld>
            <a:endParaRPr lang="de-CH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1EC0D7A-9CCF-7962-5B3B-CF74EA40FD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Challenge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3BF985B-F5FF-6ACA-C759-ED77F1F4A5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5721" y="1867879"/>
            <a:ext cx="4476581" cy="379927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6A5AAF7-B90E-DB7C-3638-A340B8C85A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10008" y="1867879"/>
            <a:ext cx="5407797" cy="3799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612385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3148425C-2077-DA12-F48B-FCFD248A6D82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 bwMode="auto">
          <a:xfrm>
            <a:off x="351623" y="1848643"/>
            <a:ext cx="5744377" cy="39534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8CD267B-F338-74E4-EC87-94E61DCF18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7402FF4-3150-4BB9-8471-06339226EF9E}" type="slidenum">
              <a:rPr lang="de-CH" smtClean="0"/>
              <a:pPr/>
              <a:t>19</a:t>
            </a:fld>
            <a:endParaRPr lang="de-CH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F3D549E-8BE3-8E92-B1DE-D9D745F0FE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Impact</a:t>
            </a:r>
            <a:r>
              <a:rPr lang="vi-VN" dirty="0"/>
              <a:t>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1F4A0C6-E9FE-1E11-BCFA-DF1E7E05150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6985758" y="1646789"/>
            <a:ext cx="4155281" cy="415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05477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6C3A3E4-4D94-F02A-C3ED-D517485B7E49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vi-VN" sz="4400" dirty="0"/>
              <a:t>1 </a:t>
            </a:r>
            <a:r>
              <a:rPr lang="vi-VN" sz="4400" dirty="0" err="1"/>
              <a:t>Opening</a:t>
            </a:r>
            <a:endParaRPr lang="vi-VN" sz="4400" dirty="0"/>
          </a:p>
          <a:p>
            <a:r>
              <a:rPr lang="vi-VN" sz="4400" dirty="0"/>
              <a:t>2 </a:t>
            </a:r>
            <a:r>
              <a:rPr lang="vi-VN" sz="4400" dirty="0" err="1"/>
              <a:t>Achievements</a:t>
            </a:r>
            <a:r>
              <a:rPr lang="vi-VN" sz="4400" dirty="0"/>
              <a:t> &amp; </a:t>
            </a:r>
            <a:r>
              <a:rPr lang="vi-VN" sz="4400" dirty="0" err="1"/>
              <a:t>Projects</a:t>
            </a:r>
            <a:endParaRPr lang="vi-VN" sz="4400" dirty="0"/>
          </a:p>
          <a:p>
            <a:r>
              <a:rPr lang="vi-VN" sz="4400" dirty="0"/>
              <a:t>3 </a:t>
            </a:r>
            <a:r>
              <a:rPr lang="vi-VN" sz="4400" dirty="0" err="1"/>
              <a:t>Learning</a:t>
            </a:r>
            <a:r>
              <a:rPr lang="vi-VN" sz="4400" dirty="0"/>
              <a:t> &amp; </a:t>
            </a:r>
            <a:r>
              <a:rPr lang="vi-VN" sz="4400" dirty="0" err="1"/>
              <a:t>Growth</a:t>
            </a:r>
            <a:endParaRPr lang="vi-VN" sz="4400" dirty="0"/>
          </a:p>
          <a:p>
            <a:r>
              <a:rPr lang="vi-VN" sz="4400" dirty="0"/>
              <a:t>4 </a:t>
            </a:r>
            <a:r>
              <a:rPr lang="vi-VN" sz="4400" dirty="0" err="1"/>
              <a:t>Challenges</a:t>
            </a:r>
            <a:r>
              <a:rPr lang="vi-VN" sz="4400" dirty="0"/>
              <a:t> &amp; </a:t>
            </a:r>
            <a:r>
              <a:rPr lang="vi-VN" sz="4400" dirty="0" err="1"/>
              <a:t>Overcoming</a:t>
            </a:r>
            <a:endParaRPr lang="vi-VN" sz="4400" dirty="0"/>
          </a:p>
          <a:p>
            <a:r>
              <a:rPr lang="vi-VN" sz="4400" dirty="0"/>
              <a:t>5 </a:t>
            </a:r>
            <a:r>
              <a:rPr lang="vi-VN" sz="4400" dirty="0" err="1"/>
              <a:t>Better</a:t>
            </a:r>
            <a:r>
              <a:rPr lang="vi-VN" sz="4400" dirty="0"/>
              <a:t> </a:t>
            </a:r>
            <a:r>
              <a:rPr lang="vi-VN" sz="4400" dirty="0" err="1"/>
              <a:t>version</a:t>
            </a:r>
            <a:r>
              <a:rPr lang="vi-VN" sz="4400" dirty="0"/>
              <a:t> </a:t>
            </a:r>
            <a:r>
              <a:rPr lang="vi-VN" sz="4400" dirty="0" err="1"/>
              <a:t>of</a:t>
            </a:r>
            <a:r>
              <a:rPr lang="vi-VN" sz="4400" dirty="0"/>
              <a:t> </a:t>
            </a:r>
            <a:r>
              <a:rPr lang="vi-VN" sz="4400" dirty="0" err="1"/>
              <a:t>myself</a:t>
            </a:r>
            <a:endParaRPr lang="vi-VN" sz="4400" dirty="0"/>
          </a:p>
          <a:p>
            <a:endParaRPr lang="vi-VN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6CBCFFD-1908-B945-95DC-2C939F8C5B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7402FF4-3150-4BB9-8471-06339226EF9E}" type="slidenum">
              <a:rPr lang="de-CH" smtClean="0"/>
              <a:pPr/>
              <a:t>2</a:t>
            </a:fld>
            <a:endParaRPr lang="de-CH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1C3BFFD-9750-7968-15FB-52B8B9FDC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Agenda</a:t>
            </a:r>
            <a:r>
              <a:rPr lang="vi-VN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3408414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EBFC97AC-E7E5-89B2-AF49-1A054A6B400C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317016" y="2022372"/>
            <a:ext cx="4850407" cy="3611522"/>
          </a:xfr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432EB23-6C9A-6460-4349-081FBF159D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7402FF4-3150-4BB9-8471-06339226EF9E}" type="slidenum">
              <a:rPr lang="de-CH" smtClean="0"/>
              <a:pPr/>
              <a:t>20</a:t>
            </a:fld>
            <a:endParaRPr lang="de-CH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F4C8C80-A65D-99E2-1707-D6380F7F79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How</a:t>
            </a:r>
            <a:r>
              <a:rPr lang="vi-VN" dirty="0"/>
              <a:t> to </a:t>
            </a:r>
            <a:r>
              <a:rPr lang="vi-VN" dirty="0" err="1"/>
              <a:t>overcome</a:t>
            </a:r>
            <a:endParaRPr lang="vi-VN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65C42E4-21A3-06C3-3268-0D44E6DD26B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837473B0-CC2E-450A-ABE3-18F120FF3D39}">
                <a1611:picAttrSrcUrl xmlns:a1611="http://schemas.microsoft.com/office/drawing/2016/11/main" r:id="rId6"/>
              </a:ext>
            </a:extLst>
          </a:blip>
          <a:stretch>
            <a:fillRect/>
          </a:stretch>
        </p:blipFill>
        <p:spPr>
          <a:xfrm>
            <a:off x="5869172" y="1789244"/>
            <a:ext cx="6105357" cy="4072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059319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3AE0664-C31A-7BC4-8616-2F08A387BD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7402FF4-3150-4BB9-8471-06339226EF9E}" type="slidenum">
              <a:rPr lang="de-CH" smtClean="0"/>
              <a:pPr/>
              <a:t>21</a:t>
            </a:fld>
            <a:endParaRPr lang="de-CH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FED3434-A61A-B204-2CE2-F2BE4F65F1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Healing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C367EF3-CE62-4876-7E3F-2B1EFBF14E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3283" y="1784307"/>
            <a:ext cx="5117258" cy="383393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8A85075-FA9B-9F4D-E21A-5022C87778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7385" y="1784307"/>
            <a:ext cx="2855686" cy="3807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53973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7E8B797B-4B22-BB40-13AD-64B78D974B66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2620722" y="1611522"/>
            <a:ext cx="7255356" cy="4742328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10878B4-99BD-9AC4-B5F5-1E7087F483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7402FF4-3150-4BB9-8471-06339226EF9E}" type="slidenum">
              <a:rPr lang="de-CH" smtClean="0"/>
              <a:pPr/>
              <a:t>22</a:t>
            </a:fld>
            <a:endParaRPr lang="de-CH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FC6176F-4FD5-C983-AF78-3F1005B6F8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Experience</a:t>
            </a:r>
            <a:endParaRPr lang="vi-VN" dirty="0"/>
          </a:p>
        </p:txBody>
      </p:sp>
      <p:sp>
        <p:nvSpPr>
          <p:cNvPr id="5" name="AutoShape 2" descr="Image result for You Never Get The Chance To Make A Second First Impression">
            <a:extLst>
              <a:ext uri="{FF2B5EF4-FFF2-40B4-BE49-F238E27FC236}">
                <a16:creationId xmlns:a16="http://schemas.microsoft.com/office/drawing/2014/main" id="{B154EFFE-285D-17CB-A4F2-E9E14660E79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5919069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3B455D2F-1959-DE7B-E77A-FA2666E8752A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 bwMode="auto">
          <a:xfrm>
            <a:off x="807559" y="1652588"/>
            <a:ext cx="3893040" cy="3893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C1E16F5-7494-5AFA-ED8C-A6C4DE15FE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7402FF4-3150-4BB9-8471-06339226EF9E}" type="slidenum">
              <a:rPr lang="de-CH" smtClean="0"/>
              <a:pPr/>
              <a:t>23</a:t>
            </a:fld>
            <a:endParaRPr lang="de-CH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25ECF13-3EE5-256A-F96E-AD17AD83A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Work</a:t>
            </a:r>
            <a:r>
              <a:rPr lang="vi-VN" dirty="0"/>
              <a:t> &amp; </a:t>
            </a:r>
            <a:r>
              <a:rPr lang="vi-VN" dirty="0" err="1"/>
              <a:t>Communicate</a:t>
            </a:r>
            <a:endParaRPr lang="vi-VN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A2805C-3751-90B0-ED69-FEEB62CC8E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95753" y="1652588"/>
            <a:ext cx="5188688" cy="3891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232387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CACF9DD-19C1-F319-29BC-7AAD4B3A7C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7402FF4-3150-4BB9-8471-06339226EF9E}" type="slidenum">
              <a:rPr lang="de-CH" smtClean="0"/>
              <a:pPr/>
              <a:t>24</a:t>
            </a:fld>
            <a:endParaRPr lang="de-CH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F67DE2A-5014-6FC0-41D6-CBCBEA5F4B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5752" y="918820"/>
            <a:ext cx="10188951" cy="571321"/>
          </a:xfrm>
        </p:spPr>
        <p:txBody>
          <a:bodyPr>
            <a:normAutofit fontScale="90000"/>
          </a:bodyPr>
          <a:lstStyle/>
          <a:p>
            <a:r>
              <a:rPr lang="en-US" dirty="0"/>
              <a:t>“I’m looking forward to the next milestones to become an even better version of myself.”</a:t>
            </a:r>
            <a:endParaRPr lang="vi-VN" dirty="0"/>
          </a:p>
        </p:txBody>
      </p:sp>
      <p:pic>
        <p:nvPicPr>
          <p:cNvPr id="11266" name="Picture 2" descr="Có thể là hình ảnh về 9 người và văn bản">
            <a:extLst>
              <a:ext uri="{FF2B5EF4-FFF2-40B4-BE49-F238E27FC236}">
                <a16:creationId xmlns:a16="http://schemas.microsoft.com/office/drawing/2014/main" id="{AB086A40-E02B-6090-BC8A-E6EDAA2E25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0298" y="1586682"/>
            <a:ext cx="6971414" cy="5228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125997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54A80E1-7A4D-C176-BB0F-49A0BFBFFA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7402FF4-3150-4BB9-8471-06339226EF9E}" type="slidenum">
              <a:rPr lang="de-CH" smtClean="0"/>
              <a:pPr/>
              <a:t>25</a:t>
            </a:fld>
            <a:endParaRPr lang="de-CH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39C7C0A-ADFB-B9E6-26AA-AFB398CABB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vi-VN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04DF317-DDEA-5128-E37D-6606B155F4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08387" y="1245430"/>
            <a:ext cx="9247456" cy="54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66871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75302" y="3390381"/>
            <a:ext cx="9888000" cy="960000"/>
          </a:xfrm>
        </p:spPr>
        <p:txBody>
          <a:bodyPr>
            <a:normAutofit fontScale="90000"/>
          </a:bodyPr>
          <a:lstStyle/>
          <a:p>
            <a:br>
              <a:rPr lang="de-CH" b="1" dirty="0"/>
            </a:br>
            <a:r>
              <a:rPr lang="de-CH" b="1" dirty="0"/>
              <a:t>Q&amp;A</a:t>
            </a:r>
            <a:br>
              <a:rPr lang="de-CH" b="1" dirty="0"/>
            </a:br>
            <a:br>
              <a:rPr lang="de-CH" b="1" dirty="0"/>
            </a:br>
            <a:r>
              <a:rPr lang="de-CH" b="1" dirty="0">
                <a:solidFill>
                  <a:schemeClr val="tx1"/>
                </a:solidFill>
              </a:rPr>
              <a:t>Thank you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294967295"/>
          </p:nvPr>
        </p:nvSpPr>
        <p:spPr>
          <a:xfrm>
            <a:off x="11404703" y="6966012"/>
            <a:ext cx="480000" cy="240000"/>
          </a:xfrm>
        </p:spPr>
        <p:txBody>
          <a:bodyPr/>
          <a:lstStyle/>
          <a:p>
            <a:fld id="{D7402FF4-3150-4BB9-8471-06339226EF9E}" type="slidenum">
              <a:rPr lang="de-CH" smtClean="0"/>
              <a:pPr/>
              <a:t>26</a:t>
            </a:fld>
            <a:endParaRPr lang="de-CH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275302" y="5182930"/>
            <a:ext cx="9888000" cy="590550"/>
          </a:xfrm>
        </p:spPr>
        <p:txBody>
          <a:bodyPr/>
          <a:lstStyle/>
          <a:p>
            <a:r>
              <a:rPr lang="de-CH" dirty="0"/>
              <a:t>Intern | Khiem Bui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1E24127-8B34-E13D-CD82-47B0A01B8A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19302" y="1495333"/>
            <a:ext cx="6333460" cy="4750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24612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A06CE3A2-E93C-EA68-753C-3F8796CE733B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 bwMode="auto">
          <a:xfrm>
            <a:off x="1133306" y="1787614"/>
            <a:ext cx="5441160" cy="40808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8DC4FD-5B0D-E490-2B38-449F9893FF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7402FF4-3150-4BB9-8471-06339226EF9E}" type="slidenum">
              <a:rPr lang="de-CH" smtClean="0"/>
              <a:pPr/>
              <a:t>3</a:t>
            </a:fld>
            <a:endParaRPr lang="de-CH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5560DEA-C339-0B3D-BDFE-89EC707C6C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PP4 – TEAM</a:t>
            </a:r>
            <a:endParaRPr lang="vi-VN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7C80153-D3A1-96A9-59D6-65A2F0DE8A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00061" y="1787614"/>
            <a:ext cx="3058633" cy="4078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11381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B0CC4C7-1704-8AF3-1007-4FAF4A41E3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7402FF4-3150-4BB9-8471-06339226EF9E}" type="slidenum">
              <a:rPr lang="de-CH" smtClean="0"/>
              <a:pPr/>
              <a:t>4</a:t>
            </a:fld>
            <a:endParaRPr lang="de-CH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489C12F-0546-EC40-1335-6B269898F0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Analysis</a:t>
            </a:r>
            <a:r>
              <a:rPr lang="vi-VN" dirty="0"/>
              <a:t> </a:t>
            </a:r>
            <a:r>
              <a:rPr lang="vi-VN" dirty="0" err="1"/>
              <a:t>Requirement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08538F2-5FA2-0025-0E15-616FB34863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73865" y="1506010"/>
            <a:ext cx="8793126" cy="4638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34052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1C1238E-6441-CED6-A573-DB4DD0F2BA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7402FF4-3150-4BB9-8471-06339226EF9E}" type="slidenum">
              <a:rPr lang="de-CH" smtClean="0"/>
              <a:pPr/>
              <a:t>5</a:t>
            </a:fld>
            <a:endParaRPr lang="de-CH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8927BCC-295D-6810-3262-61BC676E5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Database</a:t>
            </a:r>
            <a:endParaRPr lang="vi-VN" dirty="0"/>
          </a:p>
        </p:txBody>
      </p:sp>
      <p:pic>
        <p:nvPicPr>
          <p:cNvPr id="2050" name="Picture 2" descr="What is a database? Definition, types and examples | Blog | Fivetran">
            <a:extLst>
              <a:ext uri="{FF2B5EF4-FFF2-40B4-BE49-F238E27FC236}">
                <a16:creationId xmlns:a16="http://schemas.microsoft.com/office/drawing/2014/main" id="{08D0081E-9067-B8D7-3F54-754D78D43F81}"/>
              </a:ext>
            </a:extLst>
          </p:cNvPr>
          <p:cNvPicPr>
            <a:picLocks noGrp="1" noChangeAspect="1" noChangeArrowheads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037" y="1652588"/>
            <a:ext cx="8145925" cy="4657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815957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BDF8B0D-DDB2-A5E7-ADA3-E6C588089A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7402FF4-3150-4BB9-8471-06339226EF9E}" type="slidenum">
              <a:rPr lang="de-CH" smtClean="0"/>
              <a:pPr/>
              <a:t>6</a:t>
            </a:fld>
            <a:endParaRPr lang="de-CH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9C451C3-9871-EF63-784C-0906678899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Programming</a:t>
            </a:r>
            <a:endParaRPr lang="vi-VN" dirty="0"/>
          </a:p>
        </p:txBody>
      </p:sp>
      <p:pic>
        <p:nvPicPr>
          <p:cNvPr id="4098" name="Picture 2" descr="TypeScript Tutorial: A Guide to Using the Programming Language - The ...">
            <a:extLst>
              <a:ext uri="{FF2B5EF4-FFF2-40B4-BE49-F238E27FC236}">
                <a16:creationId xmlns:a16="http://schemas.microsoft.com/office/drawing/2014/main" id="{9FC4FC3C-B400-B702-283F-A74A65B4E10D}"/>
              </a:ext>
            </a:extLst>
          </p:cNvPr>
          <p:cNvPicPr>
            <a:picLocks noGrp="1" noChangeAspect="1" noChangeArrowheads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190" y="2560251"/>
            <a:ext cx="4732842" cy="26641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SQL Tutorial - GeeksforGeeks">
            <a:extLst>
              <a:ext uri="{FF2B5EF4-FFF2-40B4-BE49-F238E27FC236}">
                <a16:creationId xmlns:a16="http://schemas.microsoft.com/office/drawing/2014/main" id="{2DA55BB5-C987-8458-7D62-BCC6977534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0783" y="2560251"/>
            <a:ext cx="5147027" cy="2654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03841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5A7750D-4B6E-89FA-083D-C6043FC61D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7402FF4-3150-4BB9-8471-06339226EF9E}" type="slidenum">
              <a:rPr lang="de-CH" smtClean="0"/>
              <a:pPr/>
              <a:t>7</a:t>
            </a:fld>
            <a:endParaRPr lang="de-CH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57E3B3E-B1A6-D8AF-AD91-2B75571328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Test</a:t>
            </a:r>
            <a:r>
              <a:rPr lang="vi-VN" dirty="0"/>
              <a:t> </a:t>
            </a:r>
            <a:r>
              <a:rPr lang="vi-VN" dirty="0" err="1"/>
              <a:t>case</a:t>
            </a:r>
            <a:endParaRPr lang="vi-VN" dirty="0"/>
          </a:p>
        </p:txBody>
      </p:sp>
      <p:pic>
        <p:nvPicPr>
          <p:cNvPr id="3074" name="Picture 2" descr="Unit Test là gì? 5 khái niệm cần biết khi sử dụng Unit Test">
            <a:extLst>
              <a:ext uri="{FF2B5EF4-FFF2-40B4-BE49-F238E27FC236}">
                <a16:creationId xmlns:a16="http://schemas.microsoft.com/office/drawing/2014/main" id="{D070BF21-45E7-8514-D6B5-A86D7957154A}"/>
              </a:ext>
            </a:extLst>
          </p:cNvPr>
          <p:cNvPicPr>
            <a:picLocks noGrp="1" noChangeAspect="1" noChangeArrowheads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8986" y="1652588"/>
            <a:ext cx="7568803" cy="4657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203652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E7CF995-603F-5960-C2AF-FAA7998A02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7402FF4-3150-4BB9-8471-06339226EF9E}" type="slidenum">
              <a:rPr lang="de-CH" smtClean="0"/>
              <a:pPr/>
              <a:t>8</a:t>
            </a:fld>
            <a:endParaRPr lang="de-CH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5F9D017-1AD8-19D5-7AE2-7C1BDD3265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Principles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E470938-8296-2871-0438-81A013CD20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31580" y="1705311"/>
            <a:ext cx="3094122" cy="4240094"/>
          </a:xfrm>
          <a:prstGeom prst="rect">
            <a:avLst/>
          </a:prstGeom>
        </p:spPr>
      </p:pic>
      <p:pic>
        <p:nvPicPr>
          <p:cNvPr id="12290" name="Picture 2" descr="Image">
            <a:extLst>
              <a:ext uri="{FF2B5EF4-FFF2-40B4-BE49-F238E27FC236}">
                <a16:creationId xmlns:a16="http://schemas.microsoft.com/office/drawing/2014/main" id="{0E23FB91-A5C5-9F70-7DC6-676616617E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8884" y="1705310"/>
            <a:ext cx="3261536" cy="42400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59713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5C7D581-6035-1368-5D18-957EC1BD03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7402FF4-3150-4BB9-8471-06339226EF9E}" type="slidenum">
              <a:rPr lang="de-CH" smtClean="0"/>
              <a:pPr/>
              <a:t>9</a:t>
            </a:fld>
            <a:endParaRPr lang="de-CH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09B1317-F197-D3CF-31A7-65ABD78BEC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 dirty="0" err="1"/>
              <a:t>Tool</a:t>
            </a:r>
            <a:r>
              <a:rPr lang="vi-VN" dirty="0"/>
              <a:t> , </a:t>
            </a:r>
            <a:r>
              <a:rPr lang="vi-VN" dirty="0" err="1"/>
              <a:t>Framework</a:t>
            </a:r>
            <a:r>
              <a:rPr lang="vi-VN" dirty="0"/>
              <a:t> </a:t>
            </a:r>
          </a:p>
        </p:txBody>
      </p:sp>
      <p:pic>
        <p:nvPicPr>
          <p:cNvPr id="7170" name="Picture 2" descr="Git Manual for Beginners. Git is the most popular distributed… | by ...">
            <a:extLst>
              <a:ext uri="{FF2B5EF4-FFF2-40B4-BE49-F238E27FC236}">
                <a16:creationId xmlns:a16="http://schemas.microsoft.com/office/drawing/2014/main" id="{34111871-180F-023B-49C6-21E2D9F28ACF}"/>
              </a:ext>
            </a:extLst>
          </p:cNvPr>
          <p:cNvPicPr>
            <a:picLocks noGrp="1" noChangeAspect="1" noChangeArrowheads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3637" y="1596453"/>
            <a:ext cx="3507062" cy="2111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Content Placeholder 5">
            <a:extLst>
              <a:ext uri="{FF2B5EF4-FFF2-40B4-BE49-F238E27FC236}">
                <a16:creationId xmlns:a16="http://schemas.microsoft.com/office/drawing/2014/main" id="{1F0BFF06-6666-4342-3DCE-13459397CA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5994873" y="1075471"/>
            <a:ext cx="5409830" cy="3035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67584A9-E973-6DA8-F78A-C51C299048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50572" y="4480308"/>
            <a:ext cx="1746174" cy="1746174"/>
          </a:xfrm>
          <a:prstGeom prst="rect">
            <a:avLst/>
          </a:prstGeom>
        </p:spPr>
      </p:pic>
      <p:pic>
        <p:nvPicPr>
          <p:cNvPr id="7" name="Picture 6" descr="Maîtriser Microsoft SQL Server Management Studio : un guide essentiel">
            <a:extLst>
              <a:ext uri="{FF2B5EF4-FFF2-40B4-BE49-F238E27FC236}">
                <a16:creationId xmlns:a16="http://schemas.microsoft.com/office/drawing/2014/main" id="{9D7FF415-2A30-4775-B6CD-6834128D11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0161" y="4215596"/>
            <a:ext cx="4194928" cy="2359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81039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_Template_16-9_neu">
  <a:themeElements>
    <a:clrScheme name="BBV">
      <a:dk1>
        <a:sysClr val="windowText" lastClr="000000"/>
      </a:dk1>
      <a:lt1>
        <a:sysClr val="window" lastClr="FFFFFF"/>
      </a:lt1>
      <a:dk2>
        <a:srgbClr val="CC071E"/>
      </a:dk2>
      <a:lt2>
        <a:srgbClr val="707173"/>
      </a:lt2>
      <a:accent1>
        <a:srgbClr val="CC071E"/>
      </a:accent1>
      <a:accent2>
        <a:srgbClr val="373839"/>
      </a:accent2>
      <a:accent3>
        <a:srgbClr val="F39800"/>
      </a:accent3>
      <a:accent4>
        <a:srgbClr val="005193"/>
      </a:accent4>
      <a:accent5>
        <a:srgbClr val="519DD1"/>
      </a:accent5>
      <a:accent6>
        <a:srgbClr val="005D39"/>
      </a:accent6>
      <a:hlink>
        <a:srgbClr val="CC071E"/>
      </a:hlink>
      <a:folHlink>
        <a:srgbClr val="707173"/>
      </a:folHlink>
    </a:clrScheme>
    <a:fontScheme name="BBV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</a:spPr>
      <a:bodyPr wrap="square" lIns="72000" tIns="72000" rIns="72000" bIns="72000" rtlCol="0" anchor="ctr">
        <a:noAutofit/>
      </a:bodyPr>
      <a:lstStyle>
        <a:defPPr algn="ctr">
          <a:defRPr sz="1600" dirty="0" err="1" smtClean="0">
            <a:solidFill>
              <a:schemeClr val="bg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1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Segoe UI" pitchFamily="-128" charset="0"/>
            <a:ea typeface="ＭＳ Ｐゴシック" pitchFamily="-128" charset="-128"/>
            <a:cs typeface="ＭＳ Ｐゴシック" pitchFamily="-128" charset="-128"/>
          </a:defRPr>
        </a:defPPr>
      </a:lstStyle>
    </a:lnDef>
    <a:txDef>
      <a:spPr>
        <a:noFill/>
      </a:spPr>
      <a:bodyPr wrap="none" lIns="0" tIns="0" rIns="0" bIns="0" rtlCol="0" anchor="ctr">
        <a:noAutofit/>
      </a:bodyPr>
      <a:lstStyle>
        <a:defPPr>
          <a:defRPr sz="1600" dirty="0" err="1" smtClean="0">
            <a:solidFill>
              <a:schemeClr val="bg1"/>
            </a:solidFill>
            <a:latin typeface="+mj-lt"/>
          </a:defRPr>
        </a:defPPr>
      </a:lstStyle>
    </a:tx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bv_template.potx" id="{36489A2D-54B5-4298-9C92-410ED0DFC7FE}" vid="{F11758ED-3986-444B-A41C-92A1DA44FAD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F9EAA6E2F8A4D4BB026F436A386A664" ma:contentTypeVersion="7" ma:contentTypeDescription="Create a new document." ma:contentTypeScope="" ma:versionID="88c933ec5a9adc899122e89f569362d0">
  <xsd:schema xmlns:xsd="http://www.w3.org/2001/XMLSchema" xmlns:xs="http://www.w3.org/2001/XMLSchema" xmlns:p="http://schemas.microsoft.com/office/2006/metadata/properties" xmlns:ns3="9ee179fe-2038-47dc-8a80-fe4f515dc5e2" xmlns:ns4="424c6ed0-f036-4d5e-a1d4-e9a1413e89a7" targetNamespace="http://schemas.microsoft.com/office/2006/metadata/properties" ma:root="true" ma:fieldsID="09afb795c5de7ab173ec2898b72fa61e" ns3:_="" ns4:_="">
    <xsd:import namespace="9ee179fe-2038-47dc-8a80-fe4f515dc5e2"/>
    <xsd:import namespace="424c6ed0-f036-4d5e-a1d4-e9a1413e89a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ee179fe-2038-47dc-8a80-fe4f515dc5e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4c6ed0-f036-4d5e-a1d4-e9a1413e89a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6E463B9-72FB-4E69-B642-D9F2B8D48B90}">
  <ds:schemaRefs>
    <ds:schemaRef ds:uri="http://purl.org/dc/elements/1.1/"/>
    <ds:schemaRef ds:uri="http://schemas.microsoft.com/office/2006/metadata/properties"/>
    <ds:schemaRef ds:uri="9ee179fe-2038-47dc-8a80-fe4f515dc5e2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424c6ed0-f036-4d5e-a1d4-e9a1413e89a7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F1BEAD09-7817-480B-981A-7FC5D064680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028F4DC-6EC6-42CC-AE27-97A3D5FF6D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ee179fe-2038-47dc-8a80-fe4f515dc5e2"/>
    <ds:schemaRef ds:uri="424c6ed0-f036-4d5e-a1d4-e9a1413e89a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94</TotalTime>
  <Words>127</Words>
  <Application>Microsoft Office PowerPoint</Application>
  <PresentationFormat>Widescreen</PresentationFormat>
  <Paragraphs>58</Paragraphs>
  <Slides>2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2" baseType="lpstr">
      <vt:lpstr>Arial</vt:lpstr>
      <vt:lpstr>Calibri</vt:lpstr>
      <vt:lpstr>Segoe UI</vt:lpstr>
      <vt:lpstr>Symbol</vt:lpstr>
      <vt:lpstr>bbv_Template_16-9_neu</vt:lpstr>
      <vt:lpstr>think-cell Slide</vt:lpstr>
      <vt:lpstr>PowerPoint Presentation</vt:lpstr>
      <vt:lpstr>Agenda </vt:lpstr>
      <vt:lpstr>YPP4 – TEAM</vt:lpstr>
      <vt:lpstr>Analysis Requirement</vt:lpstr>
      <vt:lpstr>Database</vt:lpstr>
      <vt:lpstr>Programming</vt:lpstr>
      <vt:lpstr>Test case</vt:lpstr>
      <vt:lpstr>Principles</vt:lpstr>
      <vt:lpstr>Tool , Framework </vt:lpstr>
      <vt:lpstr>Programming</vt:lpstr>
      <vt:lpstr>Career</vt:lpstr>
      <vt:lpstr>Effective Communication</vt:lpstr>
      <vt:lpstr>CRITICAL THINKING &amp; DECISION-MAKING SKILLS</vt:lpstr>
      <vt:lpstr>Problem Solving</vt:lpstr>
      <vt:lpstr>Time management</vt:lpstr>
      <vt:lpstr>English Club</vt:lpstr>
      <vt:lpstr>Challenge</vt:lpstr>
      <vt:lpstr>Challenge</vt:lpstr>
      <vt:lpstr>Impact </vt:lpstr>
      <vt:lpstr>How to overcome</vt:lpstr>
      <vt:lpstr>Healing</vt:lpstr>
      <vt:lpstr>Experience</vt:lpstr>
      <vt:lpstr>Work &amp; Communicate</vt:lpstr>
      <vt:lpstr>“I’m looking forward to the next milestones to become an even better version of myself.”</vt:lpstr>
      <vt:lpstr>PowerPoint Presentation</vt:lpstr>
      <vt:lpstr> Q&amp;A  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o Trong Vo</dc:creator>
  <cp:lastModifiedBy>Khiem Bui Duc</cp:lastModifiedBy>
  <cp:revision>4</cp:revision>
  <dcterms:created xsi:type="dcterms:W3CDTF">2022-07-21T19:56:56Z</dcterms:created>
  <dcterms:modified xsi:type="dcterms:W3CDTF">2025-08-23T15:52:13Z</dcterms:modified>
</cp:coreProperties>
</file>